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ink/ink9.xml" ContentType="application/inkml+xml"/>
  <Override PartName="/ppt/notesSlides/notesSlide5.xml" ContentType="application/vnd.openxmlformats-officedocument.presentationml.notesSlide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notesSlides/notesSlide6.xml" ContentType="application/vnd.openxmlformats-officedocument.presentationml.notesSlide+xml"/>
  <Override PartName="/ppt/ink/ink14.xml" ContentType="application/inkml+xml"/>
  <Override PartName="/ppt/ink/ink15.xml" ContentType="application/inkml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9" r:id="rId2"/>
  </p:sldMasterIdLst>
  <p:notesMasterIdLst>
    <p:notesMasterId r:id="rId22"/>
  </p:notesMasterIdLst>
  <p:handoutMasterIdLst>
    <p:handoutMasterId r:id="rId23"/>
  </p:handoutMasterIdLst>
  <p:sldIdLst>
    <p:sldId id="258" r:id="rId3"/>
    <p:sldId id="2147469689" r:id="rId4"/>
    <p:sldId id="2147469657" r:id="rId5"/>
    <p:sldId id="2147469671" r:id="rId6"/>
    <p:sldId id="2147469672" r:id="rId7"/>
    <p:sldId id="2147469654" r:id="rId8"/>
    <p:sldId id="2147469662" r:id="rId9"/>
    <p:sldId id="2147469673" r:id="rId10"/>
    <p:sldId id="2147469685" r:id="rId11"/>
    <p:sldId id="2147469688" r:id="rId12"/>
    <p:sldId id="2147469686" r:id="rId13"/>
    <p:sldId id="2147469676" r:id="rId14"/>
    <p:sldId id="2147469651" r:id="rId15"/>
    <p:sldId id="2147469678" r:id="rId16"/>
    <p:sldId id="2147469665" r:id="rId17"/>
    <p:sldId id="2147469687" r:id="rId18"/>
    <p:sldId id="2147469652" r:id="rId19"/>
    <p:sldId id="2147469656" r:id="rId20"/>
    <p:sldId id="2147469667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2AF6F1E-6135-B22F-DA6C-0C135C500043}" name="Bend, Rachel" initials="BR" userId="S::R736755@EMEA.AD.JPMORGANCHASE.com::1f38d327-749a-45b4-8126-203f8d81461a" providerId="AD"/>
  <p188:author id="{1858B782-1FBE-38A2-8FA6-AE45669DB89E}" name="Laljee, Rehana" initials="LR" userId="S::I778601@EMEA.AD.JPMORGANCHASE.com::4b7e3eb8-70ec-4f5f-8471-75e789d20125" providerId="AD"/>
  <p188:author id="{9664BD94-64A4-8855-2B82-B79E50775551}" name="Kryt, Franciszek" initials="KF" userId="S::V818136@EMEA.AD.JPMORGANCHASE.com::3cb5b42a-1e57-41fa-8325-02a831c41495" providerId="AD"/>
  <p188:author id="{A7264BC5-1198-62AA-332E-FBD8F7FC942A}" name="Paul Clark" initials="PC" userId="S::N752668@EMEA.AD.JPMORGANCHASE.com::fa25832e-1b20-440e-a83b-97e7d5489a8c" providerId="AD"/>
  <p188:author id="{9043BFEC-D8A4-34B4-3396-F9C3C2024783}" name="Clark, Paul" initials="CP" userId="S::n752668@emea.ad.jpmorganchase.com::fa25832e-1b20-440e-a83b-97e7d5489a8c" providerId="AD"/>
  <p188:author id="{F196E9F8-913C-738C-6DBB-0E331FD96FDF}" name="Holroyd, Jessica" initials="HJ" userId="S::N789222@EMEA.AD.JPMORGANCHASE.com::5f6954db-4d8d-45c5-8932-5e147147566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5D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–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–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326" autoAdjust="0"/>
    <p:restoredTop sz="94694"/>
  </p:normalViewPr>
  <p:slideViewPr>
    <p:cSldViewPr snapToGrid="0">
      <p:cViewPr varScale="1">
        <p:scale>
          <a:sx n="121" d="100"/>
          <a:sy n="121" d="100"/>
        </p:scale>
        <p:origin x="18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microsoft.com/office/2018/10/relationships/authors" Target="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A473A36-59D2-0BDC-CDFE-DCBE58529E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5C46791-8269-D2F7-C4B6-D8BD9F97F6C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C3A38E-E790-4089-9617-4DA4406D757B}" type="datetimeFigureOut">
              <a:rPr lang="en-GB" smtClean="0"/>
              <a:t>01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8060A-8B72-DE08-5575-0DB9912D714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A87AC4-5BEC-8713-04C8-53615A910F2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5C08E3-AFAC-44AD-A5EE-8ED3EA4D97D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404127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5-29T19:19:25.966"/>
    </inkml:context>
    <inkml:brush xml:id="br0">
      <inkml:brushProperty name="width" value="0.3" units="cm"/>
      <inkml:brushProperty name="height" value="0.6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909,'108'0,"198"-3,-226-2,143-28,313-46,-176 32,21-27,-295 57,1 4,169-5,-77 5,-46 1,104 6,73-4,587-85,-750 69,356-76,391-110,-573 140,-306 70,1-2,-1 0,0-1,0 0,0-1,-1-1,0 0,19-14,-19 11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49:56.922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585 675 24575,'180'0'0,"2644"0"0,-2414-32 0,-148 5 0,165-15 0,-174 8 0,297-77 0,-495 98 0,102-9 0,60 10 0,-34 4 0,475-10 0,-400 2 0,2 1 0,-187 18 0,107 20 0,-156-20 0,1 3 0,0 1 0,0 1 0,-1 1 0,0 1 0,36 20 0,-26-12 0,-30-17 0,-1 1 0,0 1 0,1-1 0,-1 0 0,-1 1 0,1-1 0,0 1 0,0 0 0,-1 0 0,0 0 0,0 0 0,0 1 0,0-1 0,3 7 0,-5-9 0,1 1 0,-1-1 0,1 1 0,-1 0 0,0-1 0,0 1 0,0-1 0,0 1 0,0 0 0,0-1 0,0 1 0,-1-1 0,1 1 0,0 0 0,-1-1 0,1 1 0,-1-1 0,0 1 0,1-1 0,-1 0 0,0 1 0,0-1 0,0 0 0,0 1 0,0-1 0,0 0 0,-1 0 0,1 0 0,0 0 0,0 0 0,-1 0 0,1 0 0,-1-1 0,1 1 0,-1 0 0,1-1 0,-3 1 0,-5 2 0,1 0 0,-1-1 0,0-1 0,0 1 0,0-2 0,1 1 0,-19-2 0,2 1 0,-35-2 0,0-3 0,0-3 0,-66-16 0,-175-60 0,161 41 0,102 33 0,-580-186 0,253 72 0,308 109 0,-2 2 0,1 3 0,-1 3 0,-91 0 0,60 9 0,0 4 0,-90 18 0,178-24 0,-272 59 0,132-10 0,-8 3 0,81-37 0,-1-4 0,-105 5 0,-147-14 0,8-1 0,141 7 0,-208 8 0,2-21 0,339 1 0,0-2 0,1-1 0,0-2 0,1-2 0,0-2 0,-51-24 0,61 24 0,-1 1 0,0 1 0,0 2 0,-1 1 0,0 1 0,-47-5 0,-244 13 0,140 3 0,-1172-4 0,1329 2 0,1 0 0,-1 2 0,1 1 0,-43 15 0,35-10 0,-49 8 0,68-14 0,17 1 0,30 3 0,-25-6 0,965 189-1317,-588-117 1245,300 49 43,-669-120 86,336 62 1202,-301-54-1222,0-1 0,68 3 0,109-9-46,-194-3 9,0 2 0,35 7 0,44 4 0,296-11 0,-209-5 0,-83 1 0,476 15 0,275 5 0,-775-19 0,-93 0 0,10 0 0,0 0 0,18 4 0,-28-4 0,0 0 0,-1 0 0,1 1 0,0-1 0,0 1 0,0-1 0,-1 1 0,1 0 0,0-1 0,-1 1 0,1 0 0,-1 0 0,1 0 0,-1 0 0,0 1 0,1-1 0,-1 0 0,0 1 0,0-1 0,1 0 0,-1 1 0,0-1 0,-1 1 0,3 3 0,-3-3 0,-1-1 0,1 1 0,0 0 0,-1-1 0,1 1 0,0 0 0,-1-1 0,0 1 0,1-1 0,-1 1 0,0-1 0,0 0 0,0 1 0,0-1 0,0 0 0,0 1 0,0-1 0,-1 0 0,1 0 0,0 0 0,-1 0 0,1 0 0,-1 0 0,1-1 0,-1 1 0,1 0 0,-1-1 0,-2 1 0,-10 4 0,0 0 0,0-2 0,-1 0 0,0 0 0,1-2 0,-29 1 0,32-2 0,-60 1 0,1-4 0,-124-19 0,-141-56 0,-532-109 0,470 145 0,354 38 0,-472-6 0,317 12 0,188-2 7,-234-5-1379,160-2-5454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50:17.139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 162 24575,'283'-1'0,"312"3"0,-213 31 0,-116-6 0,28-23 0,-189-5 0,-19-2 0,105-17 0,84-29 0,-12 1 0,-216 41 0,680-86 0,-308 87 0,-237 8 0,212 11 0,-381-12 0,49 4 0,0 2 0,77 21 0,287 64 0,-403-88 0,47 10 0,-28-4 0,1-2 0,55 2 0,285-9 0,-168-3 0,-130-2 0,0-4 0,85-20 0,-79 13 0,282-45 0,-334 53 0,-1 3 0,1 1 0,73 5 0,-110-2 0,24 6 0,-26-6 0,1 0 0,0 0 0,-1 1 0,1-1 0,-1 1 0,1-1 0,-1 0 0,1 1 0,0-1 0,-1 1 0,1 0 0,-1-1 0,0 1 0,1-1 0,-1 1 0,0 0 0,1-1 0,-1 1 0,0-1 0,1 1 0,-1 0 0,0 0 0,0-1 0,0 1 0,0 0 0,0-1 0,0 1 0,0 0 0,0 0 0,0-1 0,0 1 0,0 0 0,-1 1 0,-13 63 0,2 2 0,3 0 0,3 0 0,3 71 0,3-135 0,-1 13 0,1-1 0,1 1 0,1-1 0,0 1 0,1-1 0,0 0 0,7 17 0,-5-20 0,2 4 0,0 0 0,-1 0 0,-1 1 0,-1-1 0,4 23 0,-8-36 0,0-1 0,0 1 0,0-1 0,0 0 0,-1 1 0,1-1 0,-1 0 0,1 1 0,-1-1 0,0 0 0,0 1 0,0-1 0,0 0 0,0 0 0,-1 0 0,1 0 0,0 0 0,-1 0 0,0-1 0,1 1 0,-1 0 0,0-1 0,0 1 0,0-1 0,0 0 0,0 0 0,0 0 0,0 0 0,0 0 0,-1 0 0,1 0 0,-5 0 0,-7 2 0,0-1 0,-1 0 0,1-1 0,-21-1 0,27-1 0,-61-4 0,1-3 0,-120-30 0,78 14 0,-32-1 0,-154-7 0,-148 21 0,-298 41 0,51 10 0,625-40 0,6 0 0,-104-14 0,86 4 0,-93-2 0,-81 13 0,99 1 0,-1174-2-1365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50:19.445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075 39 24575,'-578'0'0,"545"-2"0,1-1 0,-39-9 0,-40-3 0,4 14 0,-7 0 0,85-4-1365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50:22.335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241 222 24575,'-4'-3'0,"0"0"0,0 1 0,-1-1 0,0 1 0,1 0 0,-1 0 0,0 0 0,0 0 0,-9-1 0,-6-2 0,-193-50 0,150 47 0,-1 2 0,0 3 0,-67 7 0,16-2 0,73-3 0,25 0 0,1 0 0,-1 2 0,1-1 0,0 2 0,0 0 0,-1 1 0,1 1 0,-16 6 0,12-1 0,-1-1 0,0-1 0,0-1 0,0 0 0,-1-2 0,0 0 0,0-2 0,-23 0 0,-28-3 0,72 1 0,0 0 0,0 0 0,0 0 0,0 0 0,0 0 0,0 0 0,0 0 0,0 0 0,0-1 0,0 1 0,0 0 0,1-1 0,-1 1 0,0-1 0,0 1 0,0-1 0,0 1 0,0-1 0,1 1 0,-1-1 0,0 0 0,0 1 0,1-1 0,-2-1 0,3 1 0,-1 0 0,0 0 0,0 0 0,1 1 0,-1-1 0,1 0 0,-1 0 0,0 0 0,1 0 0,0 1 0,-1-1 0,1 0 0,-1 1 0,1-1 0,0 0 0,0 1 0,-1-1 0,1 1 0,1-1 0,9-6 0,-1 1 0,20-7 0,38-10 0,2 4 0,0 2 0,98-9 0,562-29 0,-712 54 0,176 0 0,-142 3 0,90 16 0,-55-5 0,-53-9 0,0 2 0,50 15 0,-40-6 0,1-1 0,1-3 0,79 11 0,7-6 0,-78-7 0,73 1 0,30-11-1365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50:06.857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0 84 24575,'1121'0'0,"-880"-15"0,-66 1 0,13-4 0,31-1 0,-214 19 14,-1 0-106,0 1 0,1-1 0,-1-1 0,0 1 0,1-1 0,-1 1 0,0-1 1,0 0-1,0-1 0,0 1 0,0-1 0,0 0 0,0 0 0,6-4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50:10.425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56 265 24575,'186'0'0,"-185"1"0,0-1 0,0 0 0,0 0 0,-1 0 0,1 0 0,0 0 0,0-1 0,0 1 0,0 0 0,0 0 0,0 0 0,0-1 0,0 1 0,-1-1 0,1 1 0,0 0 0,1-2 0,-2 2 0,0 0 0,0-1 0,0 1 0,0 0 0,0-1 0,0 1 0,0-1 0,0 1 0,0 0 0,0-1 0,-1 1 0,1 0 0,0-1 0,0 1 0,0-1 0,0 1 0,-1 0 0,1-1 0,0 1 0,0 0 0,-1 0 0,1-1 0,0 1 0,0 0 0,-1 0 0,1-1 0,-1 1 0,-35-24 0,33 22 0,-94-50 0,45 25 0,-61-41 0,77 38 0,34 28 0,1 1 0,-1-1 0,1 1 0,0-1 0,-1 0 0,1 0 0,0 0 0,0 0 0,0 0 0,0 0 0,1 0 0,-1 0 0,1 0 0,-1 0 0,1-1 0,-1 1 0,1-3 0,0 5 0,0-1 0,0 1 0,0-1 0,1 1 0,-1-1 0,0 1 0,0-1 0,0 1 0,0 0 0,1-1 0,-1 1 0,0-1 0,0 1 0,1 0 0,-1-1 0,0 1 0,1 0 0,-1-1 0,0 1 0,1 0 0,-1-1 0,1 1 0,-1 0 0,0 0 0,1 0 0,-1-1 0,1 1 0,-1 0 0,1 0 0,18 1 0,17 14 0,-34-15 0,160 85 0,-96-48 0,2-2 0,121 42 0,-165-70 0,0-2 0,1-1 0,0-1 0,25 1 0,101-8 0,-37-1 0,-85 5 0,33 1 0,0-3 0,0-3 0,70-14 0,-77 7 0,0 1 0,0 3 0,57-1 0,171 10 0,292-12 0,2-9 0,147 20 0,-472-20 0,-146 9 0,5-3 0,27-2 0,11 2 0,24-2 0,473 11 0,-351 7 0,1517-2 0,-1794 1-682,33 4-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5-29T19:19:26.807"/>
    </inkml:context>
    <inkml:brush xml:id="br0">
      <inkml:brushProperty name="width" value="0.3" units="cm"/>
      <inkml:brushProperty name="height" value="0.6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5-29T19:19:27.669"/>
    </inkml:context>
    <inkml:brush xml:id="br0">
      <inkml:brushProperty name="width" value="0.3" units="cm"/>
      <inkml:brushProperty name="height" value="0.6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5692 179,'-191'0,"-972"-50,713 22,138 10,-388-16,667 31,1 0,-39-10,-26-4,-29 7,-160 7,-127 29,208-11,-74-3,0-1,-429 49,502-42,174-17,-24 3,53-3,0-1,-1 1,1 0,0-1,0 2,0-1,1 0,-1 0,0 1,0 0,1 0,-1-1,-2 4,-4 9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5-29T19:19:42.517"/>
    </inkml:context>
    <inkml:brush xml:id="br0">
      <inkml:brushProperty name="width" value="0.3" units="cm"/>
      <inkml:brushProperty name="height" value="0.6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637,'669'0,"-603"-2,0-3,-1-3,0-2,67-21,102-24,459-47,-532 83,114-4,-67 23,351-11,-410 2,183-14,1-24,31-42,-72 15,3 23,340 14,-605 36,380-6,140-5,87-9,-608 21,51 7,-69-5,1 0,-1 1,1 1,-1 0,0 0,-1 1,13 7,-8-3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19:52.759"/>
    </inkml:context>
    <inkml:brush xml:id="br0">
      <inkml:brushProperty name="width" value="0.05" units="cm"/>
      <inkml:brushProperty name="height" value="0.05" units="cm"/>
      <inkml:brushProperty name="color" value="#FFFFFF"/>
    </inkml:brush>
  </inkml:definitions>
  <inkml:trace contextRef="#ctx0" brushRef="#br0">439 1 24575,'-11'0'0,"-20"0"0,-10 0 0,-8 0 0,-2 0 0,2 0 0,5 0 0,-2 0 0,2 0 0,4 0 0,7 0-819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20:20.728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0 541 24575,'802'0'0,"-762"-2"0,63-11 0,5-1 0,52-4 0,-54 5 0,256-22 0,-218 22 0,160-8 0,-264 20 0,67 4 0,-107-4 0,1 1 0,0 0 0,-1 0 0,1 0 0,-1 0 0,1 0 0,-1 1 0,1-1 0,0 0 0,-1 0 0,1 0 0,-1 0 0,1 1 0,-1-1 0,1 0 0,-1 0 0,1 1 0,-1-1 0,1 0 0,-1 1 0,0-1 0,1 1 0,0 0 0,-9 6 0,-23 5 0,1-4 0,0-1 0,-55 5 0,-66-4 0,126-7 0,-481-27 0,274 7 0,-438-28 0,542 32 0,-27-2 0,153 17 0,-10 0 0,-1-1 0,0-1 0,-13-2 0,15-2 0,15 0 0,19-1 0,-2 6 0,0 0 0,0 2 0,0 0 0,36 7 0,17 2 0,722 85 0,-228-33 0,69-51 0,-420-13 0,-81-1 0,163-27 0,132-49 0,73-13 0,485 40 0,-876 54 0,204 29 0,-206-15 0,0-5 0,118-4 0,45-8 0,-288 2 0,1 0 0,-25 7 0,-6 1 0,-151 4 0,151-12 0,137-1 0,-48 1 0,0-2 0,86-12 0,-31-13 0,101-39 0,-6 0 0,237-51 0,-176 58 0,-245 56 0,0 0 0,1 0 0,-1 1 0,0 1 0,1 0 0,-1 0 0,1 1 0,-1 1 0,0 0 0,12 4 0,1 1 0,1-2 0,0 0 0,0-1 0,26 0 0,104-5 0,-67-1 0,-35 0 0,55 3 0,-92 0 0,0 1 0,0 0 0,-1 1 0,26 9 0,-33-8 0,0 0 0,0 1 0,-1 0 0,1 1 0,-1-1 0,0 1 0,-1 1 0,11 12 0,11 11 0,-19-23 0,-3-2 0,-1 0 0,1 0 0,-1 0 0,0 1 0,-1 0 0,8 11 0,-12-15 0,1 0 0,0 0 0,-1 0 0,1 0 0,-1 0 0,0 0 0,0 0 0,0 0 0,0 0 0,0 0 0,0 0 0,0 0 0,0 0 0,-1 0 0,1-1 0,-1 1 0,0 0 0,1 0 0,-1 0 0,0 0 0,0-1 0,0 1 0,0 0 0,-1-1 0,1 1 0,0-1 0,-1 1 0,1-1 0,-1 0 0,1 0 0,-3 2 0,-9 7 0,-1 0 0,-1-1 0,1 0 0,-31 12 0,-73 21 0,71-27 0,12-2 0,0-2 0,-1-2 0,0-1 0,-1-2 0,0-1 0,0-2 0,-49-2 0,-380-19 0,-285 19 0,726 0 0,1 1 0,-1 1 0,-38 10 0,-73 29 0,86-26 0,-761 203 0,709-198 0,-1-5 0,0-5 0,-166-2 0,5-25 0,-253-2 0,252 16 0,15-13 0,-33-1 0,-274 15 0,255 2 0,249 2 0,-77 13 0,28-2 0,26-6 0,-186 14 0,222-21 0,-117-1 0,154-1 0,0 1 0,-1-1 0,1 1 0,0-1 0,-1 0 0,1 0 0,0 0 0,-5-3 0,7 3 0,1 1 0,-1 0 0,1-1 0,0 1 0,-1 0 0,1-1 0,-1 1 0,1 0 0,0-1 0,0 1 0,-1-1 0,1 1 0,0-1 0,0 1 0,-1-1 0,1 1 0,0-1 0,0 1 0,0-1 0,0 1 0,0-1 0,0 1 0,0-1 0,0 0 0,0 0 0,1 0 0,-1 0 0,1-1 0,-1 1 0,1 0 0,0 0 0,-1 0 0,1 0 0,0 0 0,0 0 0,0 0 0,0 0 0,0 1 0,1-2 0,10-6 0,1 2 0,-1-1 0,1 2 0,0 0 0,0 0 0,27-5 0,-33 8 0,328-65 0,9 23 0,-275 36 0,34-3 0,123 4 0,-162 9 0,0 3 0,-1 3 0,70 18 0,-83-16 0,1-3 0,-1-2 0,1-2 0,53-4 0,-59 3 0,60 9 0,-10 0 0,13-5 0,1-6 0,150-17 0,475-31 0,49 50 0,-752-1 0,-1 3 0,48 10 0,-23-3 0,-49-10 0,0 0 0,-1 0 0,1 1 0,0 0 0,0 0 0,-1 1 0,0-1 0,7 5 0,-11-7 0,-1 1 0,1-1 0,0 1 0,-1-1 0,1 1 0,-1-1 0,1 1 0,-1-1 0,1 1 0,-1-1 0,1 1 0,-1 0 0,0-1 0,1 1 0,-1 0 0,0 0 0,1-1 0,-1 1 0,0 0 0,0 0 0,0-1 0,0 1 0,1 0 0,-1 0 0,0-1 0,-1 1 0,1 0 0,0 0 0,0-1 0,0 1 0,0 0 0,0 0 0,-1-1 0,1 1 0,0 0 0,-1-1 0,1 1 0,-1 0 0,1-1 0,-1 1 0,1 0 0,-1-1 0,1 1 0,-1-1 0,1 1 0,-1-1 0,0 1 0,1-1 0,-2 1 0,-5 4 0,0-1 0,0 0 0,0 0 0,-9 2 0,-58 22-139,-125 29 0,-89-2-377,-193-11-849,368-40-4667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20:27.660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0 97 24575,'572'0'0,"-537"-2"0,67-12 0,-46 4 0,165-26 0,-156 23 0,-34 6 0,0 1 0,31-1 0,295 5 0,-177 4 0,1242-2-1365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26:42.701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 257 24575,'7'0'0,"0"0"0,-1 1 0,1-1 0,0 1 0,-1 1 0,1-1 0,0 1 0,-1 0 0,0 1 0,1-1 0,-1 1 0,0 1 0,0-1 0,-1 1 0,1 0 0,-1 0 0,0 1 0,8 7 0,43 48 0,-3 2 0,64 97 0,-58-74 0,52 105 0,-86-142 0,-3 2 0,-2 1 0,27 101 0,-44-133 0,2 37 0,0 3 0,-4-56 0,0 0 0,0 0 0,0 1 0,1-1 0,-1 0 0,1 0 0,0 0 0,0 0 0,0-1 0,0 1 0,0 0 0,0-1 0,1 1 0,-1-1 0,1 0 0,0 0 0,0 0 0,0 0 0,0-1 0,4 3 0,7 1 0,-1 0 0,1-1 0,23 5 0,49 3 0,95 2 0,-107-9 0,934 15 0,-839-20 0,-127-2 0,58-11 0,-30 3 0,375-59 0,-383 53 0,-1-2 0,102-46 0,36-12 0,7 23 0,323-42 0,-383 74 0,224-62 0,-228 30 0,-30 10 0,-15 9 0,200-62 0,-226 72 0,89-42 0,-95 38 0,40-20 0,86-33 0,89-10 0,3 0 0,-255 83 0,1 0 0,39-3 0,-34 6 0,33-10 0,-54 9 0,-13 6 0,0 0 0,0 0 0,0 0 0,1-1 0,-1 1 0,0 0 0,0 0 0,0 0 0,0 0 0,0 0 0,0 0 0,0 0 0,0-1 0,0 1 0,0 0 0,0 0 0,0 0 0,0 0 0,0 0 0,0 0 0,0-1 0,0 1 0,0 0 0,0 0 0,0 0 0,0 0 0,0 0 0,0 0 0,0-1 0,0 1 0,0 0 0,0 0 0,0 0 0,0 0 0,-1 0 0,1 0 0,0 0 0,0 0 0,0-1 0,0 1 0,0 0 0,0 0 0,0 0 0,0 0 0,-1 0 0,1 0 0,-24-8 0,12 5 0,-11-3 0,17 5 0,1-1 0,-1 1 0,0-1 0,1 0 0,-1 0 0,1 0 0,0-1 0,0 0 0,0 0 0,0 0 0,0 0 0,-4-6 0,8 9 0,1-1 0,-1 1 0,1-1 0,-1 1 0,1-1 0,0 1 0,-1-1 0,1 1 0,0-1 0,-1 0 0,1 1 0,0-1 0,0 0 0,-1 1 0,1-1 0,0 0 0,0 1 0,0-1 0,0 0 0,0 1 0,0-1 0,0 0 0,0 1 0,0-1 0,1 0 0,-1 1 0,0-1 0,0 0 0,1 1 0,-1-1 0,0 0 0,1 1 0,-1-1 0,0 1 0,1-1 0,-1 1 0,1-1 0,-1 1 0,1-1 0,-1 1 0,1-1 0,-1 1 0,1 0 0,0-1 0,0 1 0,5-3 0,-1 1 0,1 0 0,-1 0 0,9-2 0,-10 3 0,65-12 0,111-8 0,-113 14 0,467-44 0,-499 48 0,19-3 0,1 2 0,67 4 0,-119 1 0,0-1 0,0 0 0,-1 1 0,1-1 0,0 1 0,-1 0 0,1 0 0,-1 0 0,1 0 0,-1 1 0,1-1 0,-1 0 0,0 1 0,0 0 0,1 0 0,-1-1 0,0 1 0,-1 0 0,1 1 0,0-1 0,-1 0 0,1 0 0,-1 1 0,0-1 0,1 1 0,0 3 0,0 2 0,0 0 0,-1-1 0,0 1 0,-1 0 0,1-1 0,-1 1 0,-1 0 0,-1 9 0,1-12 0,-1-1 0,1 1 0,-1-1 0,0 0 0,0 0 0,0 0 0,-1 0 0,1 0 0,-1 0 0,0-1 0,0 1 0,-1-1 0,1 0 0,0 0 0,-1 0 0,0 0 0,0-1 0,0 1 0,-6 2 0,-10 4 0,0 0 0,-35 10 0,52-19 0,-26 8 0,0-2 0,0 0 0,0-3 0,0 0 0,-1-2 0,-35-2 0,8-5 0,2-2 0,-71-19 0,97 20 0,-120-34 0,145 39 0,-1 1 0,1 0 0,0 1 0,0-1 0,-1 1 0,1-1 0,0 1 0,-1 1 0,-4 0 0,2-1 0,-208 11 0,13-5-164,-70 3-655,-1311 20-3683,-16-27 3757,1344-2 1992,-13-15 3231,57 1-3973,-241 10-505,387 2 0,-97-17 0,47 4 0,-742-43 0,473 56 0,216 3 0,158-1 0,1 0 0,-1 1 0,0 0 0,1 1 0,-14 3 0,21-4 0,0-1 0,0 1 0,0 0 0,1-1 0,-1 1 0,0 0 0,0 0 0,1 0 0,-1 0 0,1 1 0,-1-1 0,1 0 0,0 1 0,-1-1 0,1 1 0,0-1 0,0 1 0,0 0 0,0-1 0,0 1 0,0 0 0,1 0 0,-1 0 0,0 0 0,1-1 0,0 1 0,-1 0 0,1 0 0,0 0 0,0 0 0,0 0 0,0 0 0,0 0 0,1 2 0,0-1 0,0-1 0,0 1 0,0 0 0,0 0 0,0-1 0,1 1 0,0-1 0,-1 1 0,1-1 0,0 0 0,0 1 0,0-1 0,0 0 0,0-1 0,4 4 0,44 23 0,-25-15 0,-8-3 0,105 57 0,-100-57 0,1 0 0,0-1 0,41 8 0,95 29 0,-108-29 0,86 17 0,-55-23 0,103 1 0,88-14 0,-118-1 0,-72 3 0,-8 1 0,1-3 0,95-15 0,-83 0 0,44-8 0,200-14 0,66 39 0,-170 3 0,1315-4 0,-1302 20 0,-145-8 0,-19-3 0,305 19 0,161-29 0,-497 4 0,52 10 0,5 0 0,469-4 0,-358-9 0,-190-1 0,0-1 0,0-1 0,0-1 0,-1-1 0,39-15 0,-12 4 0,25-10-1365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29T19:39:42.952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305 128 24575,'241'6'0,"-4"0"-164,761 8-2728,525 18-264,-1101-1 4039,-7 20 4140,114 19-4717,-405-59-306,181-8 0,-155-5 0,-132 2 0,39-1 0,-1 2 0,0 3 0,87 17 0,107 31 0,-182-43 0,119 3 0,-159-13 0,158-4 0,-149 1 0,-1-1 0,0-2 0,39-12 0,-28 4 0,146-41 0,-157 48 0,0 2 0,1 1 0,56 1 0,-83 4 0,33-1 0,-40 1 0,-1-1 0,0 1 0,0 0 0,1-1 0,-1 1 0,0-1 0,0 0 0,1 0 0,-1 0 0,0 0 0,0 0 0,0-1 0,-1 1 0,4-2 0,-5 2 0,0 1 0,0-1 0,1 1 0,-1-1 0,0 1 0,0-1 0,0 1 0,0-1 0,1 1 0,-1-1 0,0 1 0,0-1 0,0 1 0,0-1 0,0 1 0,0-1 0,0 1 0,-1-1 0,1 1 0,0-1 0,0 1 0,0-1 0,0 1 0,-1-1 0,1 1 0,0 0 0,0-1 0,-1 1 0,1-1 0,0 1 0,-1-1 0,1 1 0,0 0 0,-1-1 0,1 1 0,-1 0 0,1 0 0,-1-1 0,-19-11 0,20 12 0,-31-13 0,-1 2 0,0 1 0,-63-10 0,81 17 0,-45-7 0,-102-3 0,-62 13 0,112 2 0,-89-2-90,-175 2-329,2 22 153,-431 96 102,269-9-560,-2 0 241,225-54 304,-218 39-217,427-83 832,56-8 138,-56 13 1,-30 19 496,57-15-1039,-105 17 1,-363 6-33,302-31 0,-537 5 0,757-19 0,-39-6 0,54 5 0,0 0 0,0-1 0,0 0 0,1-1 0,-1 1 0,0-1 0,1 0 0,0-1 0,-10-6 0,9 4 0,1 0 0,-1 0 0,1 0 0,0-1 0,0 0 0,1 0 0,-8-13 0,12 18 0,0-1 0,0 1 0,0 0 0,0 0 0,1 0 0,-1 0 0,1-1 0,0 1 0,-1 0 0,1 0 0,0-1 0,0 1 0,0 0 0,1-1 0,-1 1 0,0 0 0,1 0 0,0-1 0,-1 1 0,1 0 0,0 0 0,0 0 0,0 0 0,0 0 0,1 0 0,-1 0 0,0 1 0,1-1 0,-1 0 0,1 1 0,0-1 0,0 1 0,0-1 0,-1 1 0,5-2 0,15-9 0,1 0 0,1 2 0,0 0 0,29-7 0,100-20 0,-125 31 0,63-11 0,175-8 0,93 24 0,-222 2 0,-102-1 0,473 15 0,-67 4 0,-312-16 0,150 11 0,126 2 0,-307-16 0,98-2 0,-146-1 0,-1-2 0,49-12 0,-42 3 0,1-2 0,-2-2 0,52-26 0,10-4 0,149-42 0,-246 84 0,148-37 0,187-26 0,-236 50 0,945-109 0,-560 106 0,2 24 0,-147 0 0,-344-2 0,19 0 0,-29 0 0,-19 0 0,-2165 0-2340,1571-23 1737,1-28-461,107 8 630,-22 32 4380,386 12-3451,-333 33-495,315-17 0,-364 54 0,364-47 0,-271 15 0,-3-32 0,206-5 0,3 12 341,-9 0-2047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55E855-E3D0-4C5A-B186-32C920E5CAD6}" type="datetimeFigureOut">
              <a:rPr lang="en-GB" smtClean="0"/>
              <a:t>01/06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EE4422-A82B-4C72-B179-1211D26E18B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601517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66199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opensearch.org</a:t>
            </a:r>
            <a:r>
              <a:rPr lang="en-US" dirty="0"/>
              <a:t>/docs/2.14/im-plugin/ism/policies/#rollover</a:t>
            </a:r>
          </a:p>
          <a:p>
            <a:r>
              <a:rPr lang="en-US" dirty="0"/>
              <a:t>https://</a:t>
            </a:r>
            <a:r>
              <a:rPr lang="en-US" dirty="0" err="1"/>
              <a:t>opensearch.org</a:t>
            </a:r>
            <a:r>
              <a:rPr lang="en-US" dirty="0"/>
              <a:t>/docs/2.14/im-plugin/ism/policies/#transitions</a:t>
            </a:r>
          </a:p>
          <a:p>
            <a:r>
              <a:rPr lang="en-US" dirty="0"/>
              <a:t>https://</a:t>
            </a:r>
            <a:r>
              <a:rPr lang="en-US" dirty="0" err="1"/>
              <a:t>opensearch.org</a:t>
            </a:r>
            <a:r>
              <a:rPr lang="en-US" dirty="0"/>
              <a:t>/docs/latest/tuning-your-cluster/availability-and-recovery/segment-replication/index/</a:t>
            </a:r>
          </a:p>
          <a:p>
            <a:r>
              <a:rPr lang="en-US" dirty="0"/>
              <a:t>https://</a:t>
            </a:r>
            <a:r>
              <a:rPr lang="en-US" dirty="0" err="1"/>
              <a:t>docs.aws.amazon.com</a:t>
            </a:r>
            <a:r>
              <a:rPr lang="en-US" dirty="0"/>
              <a:t>/</a:t>
            </a:r>
            <a:r>
              <a:rPr lang="en-US" dirty="0" err="1"/>
              <a:t>opensearch</a:t>
            </a:r>
            <a:r>
              <a:rPr lang="en-US" dirty="0"/>
              <a:t>-service/latest/</a:t>
            </a:r>
            <a:r>
              <a:rPr lang="en-US" dirty="0" err="1"/>
              <a:t>developerguide</a:t>
            </a:r>
            <a:r>
              <a:rPr lang="en-US" dirty="0"/>
              <a:t>/</a:t>
            </a:r>
            <a:r>
              <a:rPr lang="en-US" dirty="0" err="1"/>
              <a:t>ism.html#ism-diff</a:t>
            </a:r>
            <a:endParaRPr lang="en-US" dirty="0"/>
          </a:p>
          <a:p>
            <a:r>
              <a:rPr lang="en-US" dirty="0"/>
              <a:t>https://</a:t>
            </a:r>
            <a:r>
              <a:rPr lang="en-US" dirty="0" err="1"/>
              <a:t>docs.aws.amazon.com</a:t>
            </a:r>
            <a:r>
              <a:rPr lang="en-US" dirty="0"/>
              <a:t>/</a:t>
            </a:r>
            <a:r>
              <a:rPr lang="en-US" dirty="0" err="1"/>
              <a:t>opensearch</a:t>
            </a:r>
            <a:r>
              <a:rPr lang="en-US" dirty="0"/>
              <a:t>-service/latest/</a:t>
            </a:r>
            <a:r>
              <a:rPr lang="en-US" dirty="0" err="1"/>
              <a:t>developerguide</a:t>
            </a:r>
            <a:r>
              <a:rPr lang="en-US" dirty="0"/>
              <a:t>/ism-</a:t>
            </a:r>
            <a:r>
              <a:rPr lang="en-US" dirty="0" err="1"/>
              <a:t>tutorial.html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4019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GB" sz="1200" b="1" dirty="0"/>
              <a:t>Data Cleaning:</a:t>
            </a:r>
            <a:r>
              <a:rPr lang="en-GB" sz="1200" dirty="0"/>
              <a:t> Removing unwanted fields, fixing data inconsistencies, and converting data type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200" b="1" dirty="0"/>
              <a:t>Data Enrichment:</a:t>
            </a:r>
            <a:r>
              <a:rPr lang="en-GB" sz="1200" dirty="0"/>
              <a:t> Adding additional information to documents based on pre-defined rules or external source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200" b="1" dirty="0"/>
              <a:t>Data anonymization:</a:t>
            </a:r>
            <a:r>
              <a:rPr lang="en-GB" sz="1200" dirty="0"/>
              <a:t> Obscuring sensitive data before storing it in OpenSearch</a:t>
            </a:r>
          </a:p>
          <a:p>
            <a:endParaRPr lang="en-US" dirty="0"/>
          </a:p>
          <a:p>
            <a:r>
              <a:rPr lang="en-US" dirty="0"/>
              <a:t>https://</a:t>
            </a:r>
            <a:r>
              <a:rPr lang="en-US" dirty="0" err="1"/>
              <a:t>www.elastic.co</a:t>
            </a:r>
            <a:r>
              <a:rPr lang="en-US" dirty="0"/>
              <a:t>/guide/</a:t>
            </a:r>
            <a:r>
              <a:rPr lang="en-US" dirty="0" err="1"/>
              <a:t>en</a:t>
            </a:r>
            <a:r>
              <a:rPr lang="en-US" dirty="0"/>
              <a:t>/</a:t>
            </a:r>
            <a:r>
              <a:rPr lang="en-US" dirty="0" err="1"/>
              <a:t>elasticsearch</a:t>
            </a:r>
            <a:r>
              <a:rPr lang="en-US" dirty="0"/>
              <a:t>/reference/8.13/</a:t>
            </a:r>
            <a:r>
              <a:rPr lang="en-US" dirty="0" err="1"/>
              <a:t>ingest.html#template-snippets</a:t>
            </a:r>
            <a:endParaRPr lang="en-US" dirty="0"/>
          </a:p>
          <a:p>
            <a:r>
              <a:rPr lang="en-US" dirty="0"/>
              <a:t>https://</a:t>
            </a:r>
            <a:r>
              <a:rPr lang="en-US" dirty="0" err="1"/>
              <a:t>registry.terraform.io</a:t>
            </a:r>
            <a:r>
              <a:rPr lang="en-US" dirty="0"/>
              <a:t>/providers/</a:t>
            </a:r>
            <a:r>
              <a:rPr lang="en-US" dirty="0" err="1"/>
              <a:t>phillbaker</a:t>
            </a:r>
            <a:r>
              <a:rPr lang="en-US" dirty="0"/>
              <a:t>/</a:t>
            </a:r>
            <a:r>
              <a:rPr lang="en-US" dirty="0" err="1"/>
              <a:t>elasticsearch</a:t>
            </a:r>
            <a:r>
              <a:rPr lang="en-US" dirty="0"/>
              <a:t>/latest/docs/resources/</a:t>
            </a:r>
            <a:r>
              <a:rPr lang="en-US" dirty="0" err="1"/>
              <a:t>ingest_pipeline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414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Chase launched in the UK in Sept 2021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Over 2M customers (Chase and Nutmeg)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£20B in balances (Chase and Nutmeg)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Current accounts, savings accounts, digital wealth &amp; investments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Winners at the British Bank Awards in several categories*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4.1 Trustpilot (Chase, Sep 2023)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4.8 Google - 4.9 iOS App Store Ratings (Chase, Sep 2023)</a:t>
            </a:r>
          </a:p>
          <a:p>
            <a:pPr algn="l">
              <a:lnSpc>
                <a:spcPct val="110000"/>
              </a:lnSpc>
            </a:pPr>
            <a:endParaRPr lang="en-US" sz="1200" b="0" i="0" dirty="0">
              <a:solidFill>
                <a:schemeClr val="tx2"/>
              </a:solidFill>
              <a:latin typeface="Arial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68210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Chase launched in the UK in Sept 2021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Over 2M customers (Chase and Nutmeg)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£20B in balances (Chase and Nutmeg)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Current accounts, savings accounts, digital wealth &amp; investments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Winners at the British Bank Awards in several categories*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4.1 Trustpilot (Chase, Sep 2023)</a:t>
            </a:r>
          </a:p>
          <a:p>
            <a:r>
              <a:rPr lang="en-GB" sz="1200" dirty="0">
                <a:solidFill>
                  <a:srgbClr val="3086FF"/>
                </a:solidFill>
                <a:effectLst/>
                <a:latin typeface="Arial" panose="020B0604020202020204" pitchFamily="34" charset="0"/>
              </a:rPr>
              <a:t>• </a:t>
            </a:r>
            <a:r>
              <a:rPr lang="en-GB" sz="1200" dirty="0">
                <a:solidFill>
                  <a:srgbClr val="0E1318"/>
                </a:solidFill>
                <a:effectLst/>
                <a:latin typeface="Helvetica" pitchFamily="2" charset="0"/>
              </a:rPr>
              <a:t>4.8 Google - 4.9 iOS App Store Ratings (Chase, Sep 2023)</a:t>
            </a:r>
          </a:p>
          <a:p>
            <a:pPr algn="l">
              <a:lnSpc>
                <a:spcPct val="110000"/>
              </a:lnSpc>
            </a:pPr>
            <a:endParaRPr lang="en-US" sz="1200" b="0" i="0" dirty="0">
              <a:solidFill>
                <a:schemeClr val="tx2"/>
              </a:solidFill>
              <a:latin typeface="Arial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5347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16824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registry.terraform.io</a:t>
            </a:r>
            <a:r>
              <a:rPr lang="en-US" dirty="0"/>
              <a:t>/providers/</a:t>
            </a:r>
            <a:r>
              <a:rPr lang="en-US" dirty="0" err="1"/>
              <a:t>hashicorp</a:t>
            </a:r>
            <a:r>
              <a:rPr lang="en-US" dirty="0"/>
              <a:t>/</a:t>
            </a:r>
            <a:r>
              <a:rPr lang="en-US" dirty="0" err="1"/>
              <a:t>aws</a:t>
            </a:r>
            <a:r>
              <a:rPr lang="en-US" dirty="0"/>
              <a:t>/latest/docs/resources/</a:t>
            </a:r>
            <a:r>
              <a:rPr lang="en-US" dirty="0" err="1"/>
              <a:t>opensearch_domain</a:t>
            </a:r>
            <a:endParaRPr lang="en-US" dirty="0"/>
          </a:p>
          <a:p>
            <a:r>
              <a:rPr lang="en-US" dirty="0"/>
              <a:t>https://</a:t>
            </a:r>
            <a:r>
              <a:rPr lang="en-US" dirty="0" err="1"/>
              <a:t>registry.terraform.io</a:t>
            </a:r>
            <a:r>
              <a:rPr lang="en-US" dirty="0"/>
              <a:t>/providers/</a:t>
            </a:r>
            <a:r>
              <a:rPr lang="en-US" dirty="0" err="1"/>
              <a:t>phillbaker</a:t>
            </a:r>
            <a:r>
              <a:rPr lang="en-US" dirty="0"/>
              <a:t>/</a:t>
            </a:r>
            <a:r>
              <a:rPr lang="en-US" dirty="0" err="1"/>
              <a:t>elasticsearch</a:t>
            </a:r>
            <a:r>
              <a:rPr lang="en-US" dirty="0"/>
              <a:t>/latest/docs</a:t>
            </a:r>
          </a:p>
          <a:p>
            <a:r>
              <a:rPr lang="en-US" dirty="0"/>
              <a:t>https://</a:t>
            </a:r>
            <a:r>
              <a:rPr lang="en-US" dirty="0" err="1"/>
              <a:t>registry.terraform.io</a:t>
            </a:r>
            <a:r>
              <a:rPr lang="en-US" dirty="0"/>
              <a:t>/providers/</a:t>
            </a:r>
            <a:r>
              <a:rPr lang="en-US" dirty="0" err="1"/>
              <a:t>opensearch</a:t>
            </a:r>
            <a:r>
              <a:rPr lang="en-US" dirty="0"/>
              <a:t>-project/</a:t>
            </a:r>
            <a:r>
              <a:rPr lang="en-US" dirty="0" err="1"/>
              <a:t>opensearch</a:t>
            </a:r>
            <a:r>
              <a:rPr lang="en-US" dirty="0"/>
              <a:t>/latest/doc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8271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registry.terraform.io</a:t>
            </a:r>
            <a:r>
              <a:rPr lang="en-US" dirty="0"/>
              <a:t>/providers/</a:t>
            </a:r>
            <a:r>
              <a:rPr lang="en-US" dirty="0" err="1"/>
              <a:t>hashicorp</a:t>
            </a:r>
            <a:r>
              <a:rPr lang="en-US" dirty="0"/>
              <a:t>/</a:t>
            </a:r>
            <a:r>
              <a:rPr lang="en-US" dirty="0" err="1"/>
              <a:t>aws</a:t>
            </a:r>
            <a:r>
              <a:rPr lang="en-US" dirty="0"/>
              <a:t>/latest/docs/resources/</a:t>
            </a:r>
            <a:r>
              <a:rPr lang="en-US" dirty="0" err="1"/>
              <a:t>opensearch_domain</a:t>
            </a:r>
            <a:endParaRPr lang="en-US" dirty="0"/>
          </a:p>
          <a:p>
            <a:r>
              <a:rPr lang="en-US" dirty="0"/>
              <a:t>https://</a:t>
            </a:r>
            <a:r>
              <a:rPr lang="en-US" dirty="0" err="1"/>
              <a:t>registry.terraform.io</a:t>
            </a:r>
            <a:r>
              <a:rPr lang="en-US" dirty="0"/>
              <a:t>/providers/</a:t>
            </a:r>
            <a:r>
              <a:rPr lang="en-US" dirty="0" err="1"/>
              <a:t>phillbaker</a:t>
            </a:r>
            <a:r>
              <a:rPr lang="en-US" dirty="0"/>
              <a:t>/</a:t>
            </a:r>
            <a:r>
              <a:rPr lang="en-US" dirty="0" err="1"/>
              <a:t>elasticsearch</a:t>
            </a:r>
            <a:r>
              <a:rPr lang="en-US" dirty="0"/>
              <a:t>/latest/docs</a:t>
            </a:r>
          </a:p>
          <a:p>
            <a:r>
              <a:rPr lang="en-US" dirty="0"/>
              <a:t>https://</a:t>
            </a:r>
            <a:r>
              <a:rPr lang="en-US" dirty="0" err="1"/>
              <a:t>registry.terraform.io</a:t>
            </a:r>
            <a:r>
              <a:rPr lang="en-US" dirty="0"/>
              <a:t>/providers/</a:t>
            </a:r>
            <a:r>
              <a:rPr lang="en-US" dirty="0" err="1"/>
              <a:t>opensearch</a:t>
            </a:r>
            <a:r>
              <a:rPr lang="en-US" dirty="0"/>
              <a:t>-project/</a:t>
            </a:r>
            <a:r>
              <a:rPr lang="en-US" dirty="0" err="1"/>
              <a:t>opensearch</a:t>
            </a:r>
            <a:r>
              <a:rPr lang="en-US" dirty="0"/>
              <a:t>/latest/doc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83704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Mappings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— creating a schema definition. Data that is stored usually has multiple data types associated with its fields, such as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text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,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keyword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,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long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,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date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, and so on. Elasticsearch consults the mapping definitions to apply appropriate rules for 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analyzing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incoming data before storing it for efficient and effective searching.</a:t>
            </a:r>
          </a:p>
          <a:p>
            <a:r>
              <a:rPr lang="en-GB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Settings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- set of configuration settings, such as number of shards and replicas, refresh rate, compression codec, and others. </a:t>
            </a:r>
            <a:r>
              <a:rPr lang="en-GB" b="0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_Dynamic settings_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can be tweaked on a live index at runtime. </a:t>
            </a:r>
            <a:r>
              <a:rPr lang="en-GB" b="0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_Static settings_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are applied to an index in a non-operational mode.</a:t>
            </a:r>
          </a:p>
          <a:p>
            <a:pPr marL="171450" indent="-171450">
              <a:buFontTx/>
              <a:buChar char="-"/>
            </a:pP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Aliases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- alternate names given to indexes. An alias can point to a single or multiple indexes. For example, an alias named 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my_cars_aliases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could point to all car indexes. We can also execute queries on aliases as if we are running them on individual aliases.</a:t>
            </a:r>
          </a:p>
          <a:p>
            <a:pPr marL="171450" indent="-171450">
              <a:buFontTx/>
              <a:buChar char="-"/>
            </a:pPr>
            <a:endParaRPr lang="en-GB" b="0" dirty="0">
              <a:solidFill>
                <a:srgbClr val="1F2328"/>
              </a:solidFill>
              <a:effectLst/>
              <a:highlight>
                <a:srgbClr val="FFFFFF"/>
              </a:highlight>
              <a:latin typeface="Menlo" panose="020B0609030804020204" pitchFamily="49" charset="0"/>
            </a:endParaRPr>
          </a:p>
          <a:p>
            <a:pPr marL="171450" indent="-171450">
              <a:buFontTx/>
              <a:buChar char="-"/>
            </a:pP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https:/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opster.com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/guides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opensearch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opensearch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data-architecture/index-templating-in-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opensearch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how-to-use-composable-templates/ </a:t>
            </a:r>
          </a:p>
          <a:p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https:/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registry.terraform.io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/providers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phillbaker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elasticsearch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/latest/docs/resources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index_template</a:t>
            </a:r>
            <a:endParaRPr lang="en-GB" b="0" dirty="0">
              <a:solidFill>
                <a:srgbClr val="1F2328"/>
              </a:solidFill>
              <a:effectLst/>
              <a:highlight>
                <a:srgbClr val="FFFFFF"/>
              </a:highlight>
              <a:latin typeface="Menlo" panose="020B0609030804020204" pitchFamily="49" charset="0"/>
            </a:endParaRPr>
          </a:p>
          <a:p>
            <a:b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</a:br>
            <a:endParaRPr lang="en-GB" b="0" dirty="0">
              <a:solidFill>
                <a:srgbClr val="1F2328"/>
              </a:solidFill>
              <a:effectLst/>
              <a:highlight>
                <a:srgbClr val="FFFFFF"/>
              </a:highlight>
              <a:latin typeface="Menlo" panose="020B0609030804020204" pitchFamily="49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19366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Mappings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— creating a schema definition. Data that is stored usually has multiple data types associated with its fields, such as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text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,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keyword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,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long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,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date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, and so on. Elasticsearch consults the mapping definitions to apply appropriate rules for 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analyzing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incoming data before storing it for efficient and effective searching.</a:t>
            </a:r>
          </a:p>
          <a:p>
            <a:r>
              <a:rPr lang="en-GB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Settings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- set of configuration settings, such as number of shards and replicas, refresh rate, compression codec, and others. </a:t>
            </a:r>
            <a:r>
              <a:rPr lang="en-GB" b="0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_Dynamic settings_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can be tweaked on a live index at runtime. </a:t>
            </a:r>
            <a:r>
              <a:rPr lang="en-GB" b="0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_Static settings_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are applied to an index in a non-operational mode.</a:t>
            </a:r>
          </a:p>
          <a:p>
            <a:pPr marL="171450" indent="-171450">
              <a:buFontTx/>
              <a:buChar char="-"/>
            </a:pP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Aliases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- alternate names given to indexes. An alias can point to a single or multiple indexes. For example, an alias named 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my_cars_aliases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could point to all car indexes. We can also execute queries on aliases as if we are running them on individual aliases.</a:t>
            </a:r>
          </a:p>
          <a:p>
            <a:pPr marL="171450" indent="-171450">
              <a:buFontTx/>
              <a:buChar char="-"/>
            </a:pPr>
            <a:endParaRPr lang="en-GB" b="0" dirty="0">
              <a:solidFill>
                <a:srgbClr val="1F2328"/>
              </a:solidFill>
              <a:effectLst/>
              <a:highlight>
                <a:srgbClr val="FFFFFF"/>
              </a:highlight>
              <a:latin typeface="Menlo" panose="020B0609030804020204" pitchFamily="49" charset="0"/>
            </a:endParaRPr>
          </a:p>
          <a:p>
            <a:pPr marL="171450" indent="-171450">
              <a:buFontTx/>
              <a:buChar char="-"/>
            </a:pP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https:/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opster.com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/guides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opensearch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opensearch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data-architecture/index-templating-in-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opensearch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how-to-use-composable-templates/ </a:t>
            </a:r>
          </a:p>
          <a:p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https:/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registry.terraform.io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/providers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phillbaker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elasticsearch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/latest/docs/resources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index_template</a:t>
            </a:r>
            <a:endParaRPr lang="en-GB" b="0" dirty="0">
              <a:solidFill>
                <a:srgbClr val="1F2328"/>
              </a:solidFill>
              <a:effectLst/>
              <a:highlight>
                <a:srgbClr val="FFFFFF"/>
              </a:highlight>
              <a:latin typeface="Menlo" panose="020B0609030804020204" pitchFamily="49" charset="0"/>
            </a:endParaRPr>
          </a:p>
          <a:p>
            <a:b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</a:br>
            <a:endParaRPr lang="en-GB" b="0" dirty="0">
              <a:solidFill>
                <a:srgbClr val="1F2328"/>
              </a:solidFill>
              <a:effectLst/>
              <a:highlight>
                <a:srgbClr val="FFFFFF"/>
              </a:highlight>
              <a:latin typeface="Menlo" panose="020B0609030804020204" pitchFamily="49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9636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Mappings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— creating a schema definition. Data that is stored usually has multiple data types associated with its fields, such as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text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,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keyword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,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long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,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date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, and so on. Elasticsearch consults the mapping definitions to apply appropriate rules for 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analyzing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incoming data before storing it for efficient and effective searching.</a:t>
            </a:r>
          </a:p>
          <a:p>
            <a:r>
              <a:rPr lang="en-GB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Settings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- set of configuration settings, such as number of shards and replicas, refresh rate, compression codec, and others. </a:t>
            </a:r>
            <a:r>
              <a:rPr lang="en-GB" b="0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_Dynamic settings_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can be tweaked on a live index at runtime. </a:t>
            </a:r>
            <a:r>
              <a:rPr lang="en-GB" b="0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_Static settings_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are applied to an index in a non-operational mode.</a:t>
            </a:r>
          </a:p>
          <a:p>
            <a:r>
              <a:rPr lang="en-GB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</a:t>
            </a:r>
            <a:r>
              <a:rPr lang="en-GB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Aliases`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- alternate names given to indexes. An alias can point to a single or multiple indexes. For example, an alias named 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my_cars_aliases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could point to all car indexes. We can also execute queries on aliases as if we are running them on individual aliases. </a:t>
            </a:r>
          </a:p>
          <a:p>
            <a:endParaRPr lang="en-GB" b="0" dirty="0">
              <a:solidFill>
                <a:srgbClr val="1F2328"/>
              </a:solidFill>
              <a:effectLst/>
              <a:highlight>
                <a:srgbClr val="FFFFFF"/>
              </a:highlight>
              <a:latin typeface="Menlo" panose="020B0609030804020204" pitchFamily="49" charset="0"/>
            </a:endParaRPr>
          </a:p>
          <a:p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https://</a:t>
            </a:r>
            <a:r>
              <a:rPr lang="en-GB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opensearch.org</a:t>
            </a:r>
            <a: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/docs/latest/field-types/supported-field-types/match-only-text/</a:t>
            </a:r>
            <a:br>
              <a:rPr lang="en-GB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</a:br>
            <a:endParaRPr lang="en-GB" b="0" dirty="0">
              <a:solidFill>
                <a:srgbClr val="1F2328"/>
              </a:solidFill>
              <a:effectLst/>
              <a:highlight>
                <a:srgbClr val="FFFFFF"/>
              </a:highlight>
              <a:latin typeface="Menlo" panose="020B0609030804020204" pitchFamily="49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9028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m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fidentialInternal"/>
          <p:cNvSpPr txBox="1"/>
          <p:nvPr userDrawn="1"/>
        </p:nvSpPr>
        <p:spPr>
          <a:xfrm>
            <a:off x="2918460" y="563880"/>
            <a:ext cx="8702040" cy="160020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/>
          <a:p>
            <a:pPr algn="r">
              <a:lnSpc>
                <a:spcPct val="110000"/>
              </a:lnSpc>
            </a:pPr>
            <a:r>
              <a:rPr lang="en-GB" sz="667" b="0" i="0" cap="all" spc="175" dirty="0">
                <a:solidFill>
                  <a:schemeClr val="tx2"/>
                </a:solidFill>
                <a:latin typeface="Open Sans Light" panose="020B0606030504020204" pitchFamily="34" charset="0"/>
              </a:rPr>
              <a:t>STRICTLY PRIVATE AND CONFIDENTIAL</a:t>
            </a:r>
          </a:p>
        </p:txBody>
      </p:sp>
      <p:pic>
        <p:nvPicPr>
          <p:cNvPr id="11" name="Template_BG_01B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2191998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PlaceholderTitle"/>
          <p:cNvSpPr>
            <a:spLocks noGrp="1"/>
          </p:cNvSpPr>
          <p:nvPr>
            <p:ph type="title" idx="10" hasCustomPrompt="1"/>
          </p:nvPr>
        </p:nvSpPr>
        <p:spPr>
          <a:xfrm>
            <a:off x="579120" y="2498983"/>
            <a:ext cx="11041380" cy="564257"/>
          </a:xfrm>
        </p:spPr>
        <p:txBody>
          <a:bodyPr vert="horz" wrap="square" lIns="0" tIns="0" rIns="0" bIns="0" anchor="b">
            <a:spAutoFit/>
          </a:bodyPr>
          <a:lstStyle>
            <a:lvl1pPr algn="l">
              <a:spcBef>
                <a:spcPct val="9500"/>
              </a:spcBef>
              <a:buFontTx/>
              <a:buNone/>
              <a:defRPr sz="3667" b="0" i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6" name="PresentationContact"/>
          <p:cNvSpPr>
            <a:spLocks noGrp="1"/>
          </p:cNvSpPr>
          <p:nvPr>
            <p:ph type="body" sz="quarter" idx="12" hasCustomPrompt="1"/>
          </p:nvPr>
        </p:nvSpPr>
        <p:spPr>
          <a:xfrm>
            <a:off x="579120" y="5166360"/>
            <a:ext cx="4991100" cy="807720"/>
          </a:xfrm>
          <a:prstGeom prst="rect">
            <a:avLst/>
          </a:prstGeom>
        </p:spPr>
        <p:txBody>
          <a:bodyPr vert="horz" wrap="square" lIns="0" tIns="36576" rIns="36576" bIns="36576" anchor="b">
            <a:noAutofit/>
          </a:bodyPr>
          <a:lstStyle>
            <a:lvl1pPr marL="2646" indent="0" algn="l">
              <a:lnSpc>
                <a:spcPct val="110000"/>
              </a:lnSpc>
              <a:spcBef>
                <a:spcPts val="758"/>
              </a:spcBef>
              <a:buFontTx/>
              <a:buNone/>
              <a:defRPr sz="1000" b="0" i="0">
                <a:solidFill>
                  <a:schemeClr val="bg1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22859" indent="0" algn="l">
              <a:buFontTx/>
              <a:buNone/>
              <a:defRPr sz="1000" b="0" i="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44774" indent="0" algn="l">
              <a:buFontTx/>
              <a:buNone/>
              <a:defRPr sz="1000" b="0" i="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281929" indent="0" algn="l">
              <a:buFontTx/>
              <a:buNone/>
              <a:defRPr sz="1000" b="0" i="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419083" indent="0" algn="l">
              <a:buFontTx/>
              <a:buNone/>
              <a:defRPr sz="1000" b="0" i="0">
                <a:solidFill>
                  <a:schemeClr val="tx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Name, Title, Group</a:t>
            </a:r>
          </a:p>
        </p:txBody>
      </p:sp>
      <p:sp>
        <p:nvSpPr>
          <p:cNvPr id="9" name="Confidential"/>
          <p:cNvSpPr txBox="1"/>
          <p:nvPr userDrawn="1"/>
        </p:nvSpPr>
        <p:spPr>
          <a:xfrm>
            <a:off x="579120" y="6206047"/>
            <a:ext cx="8702040" cy="183768"/>
          </a:xfrm>
          <a:prstGeom prst="rect">
            <a:avLst/>
          </a:prstGeom>
          <a:noFill/>
        </p:spPr>
        <p:txBody>
          <a:bodyPr vert="horz" wrap="square" lIns="0" tIns="38100" rIns="0" bIns="38100" rtlCol="0" anchor="ctr">
            <a:spAutoFit/>
          </a:bodyPr>
          <a:lstStyle/>
          <a:p>
            <a:pPr algn="r">
              <a:lnSpc>
                <a:spcPct val="110000"/>
              </a:lnSpc>
            </a:pPr>
            <a:endParaRPr lang="en-GB" sz="667" b="0" i="0" cap="all" spc="175" dirty="0">
              <a:solidFill>
                <a:schemeClr val="tx2"/>
              </a:solidFill>
              <a:latin typeface="Open Sans Light" panose="020B0606030504020204" pitchFamily="34" charset="0"/>
            </a:endParaRPr>
          </a:p>
        </p:txBody>
      </p:sp>
      <p:sp>
        <p:nvSpPr>
          <p:cNvPr id="10" name="PlaceholderDate"/>
          <p:cNvSpPr>
            <a:spLocks noGrp="1"/>
          </p:cNvSpPr>
          <p:nvPr>
            <p:ph type="body" sz="quarter" idx="13" hasCustomPrompt="1"/>
          </p:nvPr>
        </p:nvSpPr>
        <p:spPr>
          <a:xfrm>
            <a:off x="579120" y="3268980"/>
            <a:ext cx="3649980" cy="320040"/>
          </a:xfrm>
          <a:prstGeom prst="rect">
            <a:avLst/>
          </a:prstGeom>
        </p:spPr>
        <p:txBody>
          <a:bodyPr vert="horz" wrap="none" lIns="0" tIns="0" rIns="0" bIns="0" anchor="t">
            <a:noAutofit/>
          </a:bodyPr>
          <a:lstStyle>
            <a:lvl1pPr marL="2646" indent="0" algn="l">
              <a:spcBef>
                <a:spcPts val="8"/>
              </a:spcBef>
              <a:buFontTx/>
              <a:buNone/>
              <a:defRPr sz="1167" b="0" i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  <a:lvl2pPr marL="22859" indent="0" algn="l">
              <a:buFontTx/>
              <a:buNone/>
              <a:defRPr sz="1167" b="0" i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44774" indent="0" algn="l">
              <a:buFontTx/>
              <a:buNone/>
              <a:defRPr sz="1167" b="0" i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281929" indent="0" algn="l">
              <a:buFontTx/>
              <a:buNone/>
              <a:defRPr sz="1167" b="0" i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419083" indent="0" algn="l">
              <a:buFontTx/>
              <a:buNone/>
              <a:defRPr sz="1167" b="0" i="0">
                <a:solidFill>
                  <a:schemeClr val="bg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[Date]</a:t>
            </a:r>
          </a:p>
        </p:txBody>
      </p:sp>
      <p:sp>
        <p:nvSpPr>
          <p:cNvPr id="12" name="Rectangle 11"/>
          <p:cNvSpPr>
            <a:spLocks noChangeAspect="1"/>
          </p:cNvSpPr>
          <p:nvPr userDrawn="1">
            <p:custDataLst>
              <p:tags r:id="rId1"/>
            </p:custDataLst>
          </p:nvPr>
        </p:nvSpPr>
        <p:spPr>
          <a:xfrm>
            <a:off x="10514228" y="6250349"/>
            <a:ext cx="1098652" cy="203683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0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en-GB" sz="1000" dirty="0">
              <a:solidFill>
                <a:schemeClr val="tx2"/>
              </a:solidFill>
              <a:latin typeface="Open Sans Light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81518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e Top Two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859280"/>
            <a:ext cx="1104138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579120" y="407670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/>
          <p:cNvSpPr>
            <a:spLocks noGrp="1"/>
          </p:cNvSpPr>
          <p:nvPr>
            <p:ph sz="quarter" idx="12"/>
          </p:nvPr>
        </p:nvSpPr>
        <p:spPr>
          <a:xfrm>
            <a:off x="6431280" y="407670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ageSubtitle"/>
          <p:cNvSpPr>
            <a:spLocks noGrp="1"/>
          </p:cNvSpPr>
          <p:nvPr>
            <p:ph type="subTitle" sz="quarter" idx="13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7" name="Picture 6" descr="cidimage003.png@01D7C45B.8A5C6CE0">
            <a:extLst>
              <a:ext uri="{FF2B5EF4-FFF2-40B4-BE49-F238E27FC236}">
                <a16:creationId xmlns:a16="http://schemas.microsoft.com/office/drawing/2014/main" id="{A5191957-040A-4F81-91A8-5D70E86423C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46407" y="6122618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01153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wo Top On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85928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6431280" y="185928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/>
          <p:cNvSpPr>
            <a:spLocks noGrp="1"/>
          </p:cNvSpPr>
          <p:nvPr>
            <p:ph sz="quarter" idx="12"/>
          </p:nvPr>
        </p:nvSpPr>
        <p:spPr>
          <a:xfrm>
            <a:off x="579120" y="4076700"/>
            <a:ext cx="1104138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ageSubtitle"/>
          <p:cNvSpPr>
            <a:spLocks noGrp="1"/>
          </p:cNvSpPr>
          <p:nvPr>
            <p:ph type="subTitle" sz="quarter" idx="13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7" name="Picture 6" descr="cidimage003.png@01D7C45B.8A5C6CE0">
            <a:extLst>
              <a:ext uri="{FF2B5EF4-FFF2-40B4-BE49-F238E27FC236}">
                <a16:creationId xmlns:a16="http://schemas.microsoft.com/office/drawing/2014/main" id="{7A6D6827-B779-4EA4-B64A-612F8FFCDC8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46407" y="6122618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285190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cidimage003.png@01D7C45B.8A5C6CE0">
            <a:extLst>
              <a:ext uri="{FF2B5EF4-FFF2-40B4-BE49-F238E27FC236}">
                <a16:creationId xmlns:a16="http://schemas.microsoft.com/office/drawing/2014/main" id="{B07BA554-952B-4A93-9612-FACFA6FFF11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46431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16816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idimage003.png@01D7C45B.8A5C6CE0">
            <a:extLst>
              <a:ext uri="{FF2B5EF4-FFF2-40B4-BE49-F238E27FC236}">
                <a16:creationId xmlns:a16="http://schemas.microsoft.com/office/drawing/2014/main" id="{047F6C6B-27A9-425E-BB0E-C51D1236B48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46431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67553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ceholderTitle"/>
          <p:cNvSpPr>
            <a:spLocks noGrp="1"/>
          </p:cNvSpPr>
          <p:nvPr>
            <p:ph type="title" idx="10" hasCustomPrompt="1"/>
          </p:nvPr>
        </p:nvSpPr>
        <p:spPr>
          <a:xfrm>
            <a:off x="579120" y="2339340"/>
            <a:ext cx="11041380" cy="1371600"/>
          </a:xfrm>
        </p:spPr>
        <p:txBody>
          <a:bodyPr vert="horz" wrap="square" lIns="0" tIns="0" rIns="0" bIns="0" anchor="b">
            <a:noAutofit/>
          </a:bodyPr>
          <a:lstStyle>
            <a:lvl1pPr algn="l">
              <a:lnSpc>
                <a:spcPct val="110000"/>
              </a:lnSpc>
              <a:spcBef>
                <a:spcPct val="0"/>
              </a:spcBef>
              <a:buFontTx/>
              <a:buNone/>
              <a:defRPr sz="2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</a:lstStyle>
          <a:p>
            <a:r>
              <a:rPr lang="en-US"/>
              <a:t>Click to edit Section Divider tit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79120" y="769620"/>
            <a:ext cx="1104138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ageSubtitle"/>
          <p:cNvSpPr>
            <a:spLocks noGrp="1"/>
          </p:cNvSpPr>
          <p:nvPr>
            <p:ph type="subTitle" idx="11" hasCustomPrompt="1"/>
          </p:nvPr>
        </p:nvSpPr>
        <p:spPr>
          <a:xfrm>
            <a:off x="579120" y="3832860"/>
            <a:ext cx="11041380" cy="36576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758"/>
              </a:spcBef>
              <a:buFontTx/>
              <a:buNone/>
              <a:defRPr sz="1167" b="1" i="0">
                <a:solidFill>
                  <a:schemeClr val="bg2"/>
                </a:solidFill>
                <a:latin typeface="Open Sans ExtraBold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add Section Divider subtit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79120" y="6012180"/>
            <a:ext cx="11041380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fidentialInternal"/>
          <p:cNvSpPr txBox="1"/>
          <p:nvPr userDrawn="1"/>
        </p:nvSpPr>
        <p:spPr>
          <a:xfrm>
            <a:off x="2918460" y="403860"/>
            <a:ext cx="8702040" cy="19050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r">
              <a:lnSpc>
                <a:spcPct val="110000"/>
              </a:lnSpc>
            </a:pPr>
            <a:r>
              <a:rPr lang="en-GB" sz="667" b="0" i="0" cap="all" spc="175" dirty="0">
                <a:solidFill>
                  <a:schemeClr val="tx2"/>
                </a:solidFill>
                <a:latin typeface="Open Sans Light" panose="020B0606030504020204" pitchFamily="34" charset="0"/>
              </a:rPr>
              <a:t>STRICTLY PRIVATE AND CONFIDENTIAL</a:t>
            </a:r>
          </a:p>
        </p:txBody>
      </p:sp>
      <p:sp>
        <p:nvSpPr>
          <p:cNvPr id="8" name="Confidential"/>
          <p:cNvSpPr txBox="1"/>
          <p:nvPr userDrawn="1"/>
        </p:nvSpPr>
        <p:spPr>
          <a:xfrm>
            <a:off x="2918460" y="6190806"/>
            <a:ext cx="8702040" cy="183768"/>
          </a:xfrm>
          <a:prstGeom prst="rect">
            <a:avLst/>
          </a:prstGeom>
          <a:noFill/>
        </p:spPr>
        <p:txBody>
          <a:bodyPr vert="horz" wrap="square" lIns="0" tIns="38100" rIns="0" bIns="38100" rtlCol="0" anchor="ctr">
            <a:spAutoFit/>
          </a:bodyPr>
          <a:lstStyle/>
          <a:p>
            <a:pPr algn="r">
              <a:lnSpc>
                <a:spcPct val="110000"/>
              </a:lnSpc>
            </a:pPr>
            <a:endParaRPr lang="en-GB" sz="667" b="0" i="0" cap="all" spc="175" dirty="0">
              <a:solidFill>
                <a:schemeClr val="tx2"/>
              </a:solidFill>
              <a:latin typeface="Open Sans Light" panose="020B0606030504020204" pitchFamily="34" charset="0"/>
            </a:endParaRPr>
          </a:p>
        </p:txBody>
      </p:sp>
      <p:sp>
        <p:nvSpPr>
          <p:cNvPr id="9" name="PageNumber"/>
          <p:cNvSpPr txBox="1"/>
          <p:nvPr userDrawn="1"/>
        </p:nvSpPr>
        <p:spPr>
          <a:xfrm>
            <a:off x="5958840" y="6276013"/>
            <a:ext cx="274320" cy="120033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l">
              <a:lnSpc>
                <a:spcPct val="110000"/>
              </a:lnSpc>
            </a:pPr>
            <a:endParaRPr lang="en-GB" sz="750" b="0" i="0" dirty="0">
              <a:solidFill>
                <a:schemeClr val="tx2"/>
              </a:solidFill>
              <a:latin typeface="Open Sans Light" panose="020B0606030504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01D4F34-24CF-4E3B-9232-773E69A38045}"/>
              </a:ext>
            </a:extLst>
          </p:cNvPr>
          <p:cNvSpPr>
            <a:spLocks noChangeAspect="1"/>
          </p:cNvSpPr>
          <p:nvPr userDrawn="1">
            <p:custDataLst>
              <p:tags r:id="rId1"/>
            </p:custDataLst>
          </p:nvPr>
        </p:nvSpPr>
        <p:spPr>
          <a:xfrm>
            <a:off x="10514228" y="6202680"/>
            <a:ext cx="1098652" cy="203683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0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en-US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0329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gendaLabel"/>
          <p:cNvSpPr txBox="1"/>
          <p:nvPr userDrawn="1">
            <p:custDataLst>
              <p:tags r:id="rId1"/>
            </p:custDataLst>
          </p:nvPr>
        </p:nvSpPr>
        <p:spPr>
          <a:xfrm>
            <a:off x="579120" y="403860"/>
            <a:ext cx="11041380" cy="60198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algn="l">
              <a:lnSpc>
                <a:spcPct val="110000"/>
              </a:lnSpc>
            </a:pPr>
            <a:r>
              <a:rPr lang="en-GB" sz="2333" b="0" i="0" dirty="0">
                <a:solidFill>
                  <a:schemeClr val="bg2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Agenda</a:t>
            </a:r>
          </a:p>
        </p:txBody>
      </p:sp>
      <p:sp>
        <p:nvSpPr>
          <p:cNvPr id="4" name="AgendaPage"/>
          <p:cNvSpPr txBox="1"/>
          <p:nvPr userDrawn="1">
            <p:custDataLst>
              <p:tags r:id="rId2"/>
            </p:custDataLst>
          </p:nvPr>
        </p:nvSpPr>
        <p:spPr>
          <a:xfrm>
            <a:off x="11306312" y="1478280"/>
            <a:ext cx="314189" cy="250325"/>
          </a:xfrm>
          <a:prstGeom prst="rect">
            <a:avLst/>
          </a:prstGeom>
          <a:noFill/>
        </p:spPr>
        <p:txBody>
          <a:bodyPr vert="horz" wrap="none" lIns="0" tIns="38100" rIns="0" bIns="38100" rtlCol="0" anchor="t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GB" sz="1083" b="0" i="0" dirty="0">
                <a:solidFill>
                  <a:schemeClr val="bg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Page</a:t>
            </a:r>
          </a:p>
        </p:txBody>
      </p:sp>
      <p:sp>
        <p:nvSpPr>
          <p:cNvPr id="5" name="AgendaTable"/>
          <p:cNvSpPr>
            <a:spLocks noGrp="1"/>
          </p:cNvSpPr>
          <p:nvPr>
            <p:ph type="tbl" idx="10"/>
          </p:nvPr>
        </p:nvSpPr>
        <p:spPr>
          <a:xfrm>
            <a:off x="556260" y="1798320"/>
            <a:ext cx="11041380" cy="4434840"/>
          </a:xfrm>
          <a:prstGeom prst="rect">
            <a:avLst/>
          </a:prstGeom>
        </p:spPr>
        <p:txBody>
          <a:bodyPr/>
          <a:lstStyle>
            <a:lvl1pPr marL="2646" indent="0">
              <a:buFontTx/>
              <a:buNone/>
              <a:defRPr sz="1083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pic>
        <p:nvPicPr>
          <p:cNvPr id="6" name="Picture 5" descr="cidimage003.png@01D7C45B.8A5C6CE0">
            <a:extLst>
              <a:ext uri="{FF2B5EF4-FFF2-40B4-BE49-F238E27FC236}">
                <a16:creationId xmlns:a16="http://schemas.microsoft.com/office/drawing/2014/main" id="{49503554-93D3-42A9-8F3A-7B02FBDD7EB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69737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type="body" idx="10"/>
          </p:nvPr>
        </p:nvSpPr>
        <p:spPr>
          <a:xfrm>
            <a:off x="579120" y="1592580"/>
            <a:ext cx="11041380" cy="4434840"/>
          </a:xfrm>
          <a:prstGeom prst="rect">
            <a:avLst/>
          </a:prstGeom>
        </p:spPr>
        <p:txBody>
          <a:bodyPr vert="horz" wrap="square" lIns="91440" tIns="36576" rIns="36576" bIns="36576" anchor="t">
            <a:noAutofit/>
          </a:bodyPr>
          <a:lstStyle>
            <a:lvl1pPr marL="2646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22859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 marL="144774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 marL="281929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 marL="419083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 descr="cidimage003.png@01D7C45B.8A5C6CE0">
            <a:extLst>
              <a:ext uri="{FF2B5EF4-FFF2-40B4-BE49-F238E27FC236}">
                <a16:creationId xmlns:a16="http://schemas.microsoft.com/office/drawing/2014/main" id="{D39E5E1E-43CA-4DB1-934C-0E0DDFEDF81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09007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hree Content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859280"/>
            <a:ext cx="3459480" cy="395478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4366260" y="1859280"/>
            <a:ext cx="3459480" cy="395478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/>
          <p:cNvSpPr>
            <a:spLocks noGrp="1"/>
          </p:cNvSpPr>
          <p:nvPr>
            <p:ph sz="quarter" idx="12"/>
          </p:nvPr>
        </p:nvSpPr>
        <p:spPr>
          <a:xfrm>
            <a:off x="8161020" y="1859280"/>
            <a:ext cx="3459480" cy="395478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ageSubtitle"/>
          <p:cNvSpPr>
            <a:spLocks noGrp="1"/>
          </p:cNvSpPr>
          <p:nvPr>
            <p:ph type="subTitle" sz="quarter" idx="13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7" name="Picture 6" descr="cidimage003.png@01D7C45B.8A5C6CE0">
            <a:extLst>
              <a:ext uri="{FF2B5EF4-FFF2-40B4-BE49-F238E27FC236}">
                <a16:creationId xmlns:a16="http://schemas.microsoft.com/office/drawing/2014/main" id="{BB63D539-2A4C-4543-A175-1F143B0766A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23854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hree Content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Light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691640"/>
            <a:ext cx="11041380" cy="115062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579120" y="3169920"/>
            <a:ext cx="11041380" cy="115062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/>
          <p:cNvSpPr>
            <a:spLocks noGrp="1"/>
          </p:cNvSpPr>
          <p:nvPr>
            <p:ph sz="quarter" idx="12"/>
          </p:nvPr>
        </p:nvSpPr>
        <p:spPr>
          <a:xfrm>
            <a:off x="579120" y="4655820"/>
            <a:ext cx="11041380" cy="115062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ageSubtitle"/>
          <p:cNvSpPr>
            <a:spLocks noGrp="1"/>
          </p:cNvSpPr>
          <p:nvPr>
            <p:ph type="subTitle" sz="quarter" idx="13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7" name="Picture 6" descr="cidimage003.png@01D7C45B.8A5C6CE0">
            <a:extLst>
              <a:ext uri="{FF2B5EF4-FFF2-40B4-BE49-F238E27FC236}">
                <a16:creationId xmlns:a16="http://schemas.microsoft.com/office/drawing/2014/main" id="{BDAA9421-8505-48C1-828F-AA31CD8702B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22618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40065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ix Conten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Light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691640"/>
            <a:ext cx="5189220" cy="115062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579120" y="3169920"/>
            <a:ext cx="5189220" cy="115062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/>
          <p:cNvSpPr>
            <a:spLocks noGrp="1"/>
          </p:cNvSpPr>
          <p:nvPr>
            <p:ph sz="quarter" idx="12"/>
          </p:nvPr>
        </p:nvSpPr>
        <p:spPr>
          <a:xfrm>
            <a:off x="579120" y="4655820"/>
            <a:ext cx="5189220" cy="115062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4"/>
          <p:cNvSpPr>
            <a:spLocks noGrp="1"/>
          </p:cNvSpPr>
          <p:nvPr>
            <p:ph sz="quarter" idx="13"/>
          </p:nvPr>
        </p:nvSpPr>
        <p:spPr>
          <a:xfrm>
            <a:off x="6431280" y="1691640"/>
            <a:ext cx="5189220" cy="115062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5"/>
          <p:cNvSpPr>
            <a:spLocks noGrp="1"/>
          </p:cNvSpPr>
          <p:nvPr>
            <p:ph sz="quarter" idx="14"/>
          </p:nvPr>
        </p:nvSpPr>
        <p:spPr>
          <a:xfrm>
            <a:off x="6431280" y="3169920"/>
            <a:ext cx="5189220" cy="115062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6"/>
          <p:cNvSpPr>
            <a:spLocks noGrp="1"/>
          </p:cNvSpPr>
          <p:nvPr>
            <p:ph sz="quarter" idx="15"/>
          </p:nvPr>
        </p:nvSpPr>
        <p:spPr>
          <a:xfrm>
            <a:off x="6431280" y="4655820"/>
            <a:ext cx="5189220" cy="115062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ageSubtitle"/>
          <p:cNvSpPr>
            <a:spLocks noGrp="1"/>
          </p:cNvSpPr>
          <p:nvPr>
            <p:ph type="subTitle" sz="quarter" idx="16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10" name="Picture 9" descr="cidimage003.png@01D7C45B.8A5C6CE0">
            <a:extLst>
              <a:ext uri="{FF2B5EF4-FFF2-40B4-BE49-F238E27FC236}">
                <a16:creationId xmlns:a16="http://schemas.microsoft.com/office/drawing/2014/main" id="{57C93F37-C09E-45A3-A8BA-8AE544839FC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49823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fidentialInternal"/>
          <p:cNvSpPr txBox="1"/>
          <p:nvPr userDrawn="1"/>
        </p:nvSpPr>
        <p:spPr>
          <a:xfrm>
            <a:off x="2918460" y="563880"/>
            <a:ext cx="8702040" cy="160020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/>
          <a:p>
            <a:pPr algn="r">
              <a:lnSpc>
                <a:spcPct val="110000"/>
              </a:lnSpc>
            </a:pPr>
            <a:r>
              <a:rPr lang="en-GB" sz="667" b="0" i="0" cap="all" spc="175" dirty="0">
                <a:solidFill>
                  <a:schemeClr val="tx2"/>
                </a:solidFill>
                <a:latin typeface="Open Sans Light" panose="020B0606030504020204" pitchFamily="34" charset="0"/>
              </a:rPr>
              <a:t>STRICTLY PRIVATE AND CONFIDENTIAL</a:t>
            </a:r>
          </a:p>
        </p:txBody>
      </p:sp>
      <p:pic>
        <p:nvPicPr>
          <p:cNvPr id="11" name="Template_BG_01B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2191998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PlaceholderTitle"/>
          <p:cNvSpPr>
            <a:spLocks noGrp="1"/>
          </p:cNvSpPr>
          <p:nvPr>
            <p:ph type="title" idx="10" hasCustomPrompt="1"/>
          </p:nvPr>
        </p:nvSpPr>
        <p:spPr>
          <a:xfrm>
            <a:off x="579120" y="2498983"/>
            <a:ext cx="11041380" cy="564257"/>
          </a:xfrm>
        </p:spPr>
        <p:txBody>
          <a:bodyPr vert="horz" wrap="square" lIns="0" tIns="0" rIns="0" bIns="0" anchor="b">
            <a:spAutoFit/>
          </a:bodyPr>
          <a:lstStyle>
            <a:lvl1pPr algn="l">
              <a:spcBef>
                <a:spcPct val="9500"/>
              </a:spcBef>
              <a:buFontTx/>
              <a:buNone/>
              <a:defRPr sz="3667" b="0" i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9" name="Confidential"/>
          <p:cNvSpPr txBox="1"/>
          <p:nvPr userDrawn="1"/>
        </p:nvSpPr>
        <p:spPr>
          <a:xfrm>
            <a:off x="579120" y="6206047"/>
            <a:ext cx="8702040" cy="183768"/>
          </a:xfrm>
          <a:prstGeom prst="rect">
            <a:avLst/>
          </a:prstGeom>
          <a:noFill/>
        </p:spPr>
        <p:txBody>
          <a:bodyPr vert="horz" wrap="square" lIns="0" tIns="38100" rIns="0" bIns="38100" rtlCol="0" anchor="ctr">
            <a:spAutoFit/>
          </a:bodyPr>
          <a:lstStyle/>
          <a:p>
            <a:pPr algn="r">
              <a:lnSpc>
                <a:spcPct val="110000"/>
              </a:lnSpc>
            </a:pPr>
            <a:endParaRPr lang="en-GB" sz="667" b="0" i="0" cap="all" spc="175" dirty="0">
              <a:solidFill>
                <a:schemeClr val="tx2"/>
              </a:solidFill>
              <a:latin typeface="Open Sans Light" panose="020B0606030504020204" pitchFamily="34" charset="0"/>
            </a:endParaRPr>
          </a:p>
        </p:txBody>
      </p:sp>
      <p:sp>
        <p:nvSpPr>
          <p:cNvPr id="12" name="Rectangle 11"/>
          <p:cNvSpPr>
            <a:spLocks noChangeAspect="1"/>
          </p:cNvSpPr>
          <p:nvPr userDrawn="1">
            <p:custDataLst>
              <p:tags r:id="rId1"/>
            </p:custDataLst>
          </p:nvPr>
        </p:nvSpPr>
        <p:spPr>
          <a:xfrm>
            <a:off x="10514228" y="6250349"/>
            <a:ext cx="1098652" cy="203683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0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en-GB" sz="1000" dirty="0">
              <a:solidFill>
                <a:schemeClr val="tx2"/>
              </a:solidFill>
              <a:latin typeface="Open Sans Light" panose="020B0606030504020204" pitchFamily="34" charset="0"/>
            </a:endParaRPr>
          </a:p>
        </p:txBody>
      </p:sp>
      <p:sp>
        <p:nvSpPr>
          <p:cNvPr id="10" name="Text Placeholder 2"/>
          <p:cNvSpPr txBox="1">
            <a:spLocks/>
          </p:cNvSpPr>
          <p:nvPr userDrawn="1"/>
        </p:nvSpPr>
        <p:spPr>
          <a:xfrm>
            <a:off x="579120" y="723901"/>
            <a:ext cx="1970288" cy="579154"/>
          </a:xfrm>
          <a:prstGeom prst="rect">
            <a:avLst/>
          </a:prstGeom>
          <a:solidFill>
            <a:srgbClr val="007CC7"/>
          </a:solidFill>
        </p:spPr>
        <p:txBody>
          <a:bodyPr vert="horz" wrap="square" lIns="76200" tIns="30480" rIns="30480" bIns="30480" rtlCol="0" anchor="ctr">
            <a:noAutofit/>
          </a:bodyPr>
          <a:lstStyle>
            <a:lvl1pPr marL="10160" indent="-6985" algn="l" defTabSz="914400" rtl="0" eaLnBrk="1" latinLnBrk="0" hangingPunct="1">
              <a:lnSpc>
                <a:spcPct val="110000"/>
              </a:lnSpc>
              <a:spcBef>
                <a:spcPts val="910"/>
              </a:spcBef>
              <a:spcAft>
                <a:spcPct val="0"/>
              </a:spcAft>
              <a:buFontTx/>
              <a:buNone/>
              <a:defRPr sz="1200" b="0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10312" indent="-18288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92000"/>
              <a:buFont typeface="Wingdings" panose="05000000000000000000" pitchFamily="2" charset="2"/>
              <a:buChar char="n"/>
              <a:defRPr sz="1200" b="0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384048" indent="-210312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92000"/>
              <a:buFont typeface="Wingdings" panose="05000000000000000000" pitchFamily="2" charset="2"/>
              <a:buChar char="n"/>
              <a:defRPr sz="1200" b="0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557784" indent="-219456" algn="l" defTabSz="914400" rtl="0" eaLnBrk="1" latinLnBrk="0" hangingPunct="1">
              <a:lnSpc>
                <a:spcPct val="110000"/>
              </a:lnSpc>
              <a:spcBef>
                <a:spcPts val="1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 b="0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3152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 b="0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333" b="1" spc="0" dirty="0">
                <a:solidFill>
                  <a:srgbClr val="FFFF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terDynamo</a:t>
            </a:r>
          </a:p>
        </p:txBody>
      </p:sp>
    </p:spTree>
    <p:extLst>
      <p:ext uri="{BB962C8B-B14F-4D97-AF65-F5344CB8AC3E}">
        <p14:creationId xmlns:p14="http://schemas.microsoft.com/office/powerpoint/2010/main" val="14955573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Light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859280"/>
            <a:ext cx="345948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4366260" y="1859280"/>
            <a:ext cx="345948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/>
          <p:cNvSpPr>
            <a:spLocks noGrp="1"/>
          </p:cNvSpPr>
          <p:nvPr>
            <p:ph sz="quarter" idx="12"/>
          </p:nvPr>
        </p:nvSpPr>
        <p:spPr>
          <a:xfrm>
            <a:off x="8161020" y="1859280"/>
            <a:ext cx="345948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4"/>
          <p:cNvSpPr>
            <a:spLocks noGrp="1"/>
          </p:cNvSpPr>
          <p:nvPr>
            <p:ph sz="quarter" idx="13"/>
          </p:nvPr>
        </p:nvSpPr>
        <p:spPr>
          <a:xfrm>
            <a:off x="579120" y="4076700"/>
            <a:ext cx="345948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5"/>
          <p:cNvSpPr>
            <a:spLocks noGrp="1"/>
          </p:cNvSpPr>
          <p:nvPr>
            <p:ph sz="quarter" idx="14"/>
          </p:nvPr>
        </p:nvSpPr>
        <p:spPr>
          <a:xfrm>
            <a:off x="4366260" y="4076700"/>
            <a:ext cx="345948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6"/>
          <p:cNvSpPr>
            <a:spLocks noGrp="1"/>
          </p:cNvSpPr>
          <p:nvPr>
            <p:ph sz="quarter" idx="15"/>
          </p:nvPr>
        </p:nvSpPr>
        <p:spPr>
          <a:xfrm>
            <a:off x="8161020" y="4076700"/>
            <a:ext cx="345948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ageSubtitle"/>
          <p:cNvSpPr>
            <a:spLocks noGrp="1"/>
          </p:cNvSpPr>
          <p:nvPr>
            <p:ph type="subTitle" sz="quarter" idx="16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10" name="Picture 9" descr="cidimage003.png@01D7C45B.8A5C6CE0">
            <a:extLst>
              <a:ext uri="{FF2B5EF4-FFF2-40B4-BE49-F238E27FC236}">
                <a16:creationId xmlns:a16="http://schemas.microsoft.com/office/drawing/2014/main" id="{B32AF2F0-A146-43D5-830D-98A1357A058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50017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Light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859280"/>
            <a:ext cx="259080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3390900" y="1859280"/>
            <a:ext cx="259080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/>
          <p:cNvSpPr>
            <a:spLocks noGrp="1"/>
          </p:cNvSpPr>
          <p:nvPr>
            <p:ph sz="quarter" idx="12"/>
          </p:nvPr>
        </p:nvSpPr>
        <p:spPr>
          <a:xfrm>
            <a:off x="6210300" y="1859280"/>
            <a:ext cx="259080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4"/>
          <p:cNvSpPr>
            <a:spLocks noGrp="1"/>
          </p:cNvSpPr>
          <p:nvPr>
            <p:ph sz="quarter" idx="13"/>
          </p:nvPr>
        </p:nvSpPr>
        <p:spPr>
          <a:xfrm>
            <a:off x="9022080" y="1859280"/>
            <a:ext cx="259080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5"/>
          <p:cNvSpPr>
            <a:spLocks noGrp="1"/>
          </p:cNvSpPr>
          <p:nvPr>
            <p:ph sz="quarter" idx="14"/>
          </p:nvPr>
        </p:nvSpPr>
        <p:spPr>
          <a:xfrm>
            <a:off x="579120" y="4076700"/>
            <a:ext cx="259080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6"/>
          <p:cNvSpPr>
            <a:spLocks noGrp="1"/>
          </p:cNvSpPr>
          <p:nvPr>
            <p:ph sz="quarter" idx="15"/>
          </p:nvPr>
        </p:nvSpPr>
        <p:spPr>
          <a:xfrm>
            <a:off x="3390900" y="4076700"/>
            <a:ext cx="259080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7"/>
          <p:cNvSpPr>
            <a:spLocks noGrp="1"/>
          </p:cNvSpPr>
          <p:nvPr>
            <p:ph sz="quarter" idx="16"/>
          </p:nvPr>
        </p:nvSpPr>
        <p:spPr>
          <a:xfrm>
            <a:off x="6210300" y="4076700"/>
            <a:ext cx="259080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8"/>
          <p:cNvSpPr>
            <a:spLocks noGrp="1"/>
          </p:cNvSpPr>
          <p:nvPr>
            <p:ph sz="quarter" idx="17"/>
          </p:nvPr>
        </p:nvSpPr>
        <p:spPr>
          <a:xfrm>
            <a:off x="9022080" y="4076700"/>
            <a:ext cx="259080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ageSubtitle"/>
          <p:cNvSpPr>
            <a:spLocks noGrp="1"/>
          </p:cNvSpPr>
          <p:nvPr>
            <p:ph type="subTitle" sz="quarter" idx="18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12" name="Picture 11" descr="cidimage003.png@01D7C45B.8A5C6CE0">
            <a:extLst>
              <a:ext uri="{FF2B5EF4-FFF2-40B4-BE49-F238E27FC236}">
                <a16:creationId xmlns:a16="http://schemas.microsoft.com/office/drawing/2014/main" id="{02F736BB-C3DC-47C0-BD6E-96694FD2C78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53367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Light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ageSubtitle"/>
          <p:cNvSpPr>
            <a:spLocks noGrp="1"/>
          </p:cNvSpPr>
          <p:nvPr>
            <p:ph type="subTitle" idx="10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sp>
        <p:nvSpPr>
          <p:cNvPr id="4" name="Content1"/>
          <p:cNvSpPr>
            <a:spLocks noGrp="1"/>
          </p:cNvSpPr>
          <p:nvPr>
            <p:ph sz="quarter" idx="11"/>
          </p:nvPr>
        </p:nvSpPr>
        <p:spPr>
          <a:xfrm>
            <a:off x="579120" y="1859280"/>
            <a:ext cx="2659380" cy="395478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2"/>
          <p:cNvSpPr>
            <a:spLocks noGrp="1"/>
          </p:cNvSpPr>
          <p:nvPr>
            <p:ph sz="quarter" idx="12"/>
          </p:nvPr>
        </p:nvSpPr>
        <p:spPr>
          <a:xfrm>
            <a:off x="3771900" y="1859280"/>
            <a:ext cx="7848600" cy="395478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505200" y="1859280"/>
            <a:ext cx="0" cy="3954780"/>
          </a:xfrm>
          <a:prstGeom prst="line">
            <a:avLst/>
          </a:prstGeom>
          <a:ln w="9525">
            <a:solidFill>
              <a:srgbClr val="AFB1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cidimage003.png@01D7C45B.8A5C6CE0">
            <a:extLst>
              <a:ext uri="{FF2B5EF4-FFF2-40B4-BE49-F238E27FC236}">
                <a16:creationId xmlns:a16="http://schemas.microsoft.com/office/drawing/2014/main" id="{8A44D176-ED04-42B7-9D1D-275890425C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99188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79120" y="265313"/>
            <a:ext cx="11041380" cy="601980"/>
          </a:xfrm>
          <a:prstGeom prst="rect">
            <a:avLst/>
          </a:prstGeom>
        </p:spPr>
        <p:txBody>
          <a:bodyPr/>
          <a:lstStyle>
            <a:lvl1pPr>
              <a:defRPr sz="2650">
                <a:latin typeface="+mn-lt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5" name="PageSubtitle"/>
          <p:cNvSpPr>
            <a:spLocks noGrp="1"/>
          </p:cNvSpPr>
          <p:nvPr>
            <p:ph type="subTitle" sz="quarter" idx="12" hasCustomPrompt="1"/>
          </p:nvPr>
        </p:nvSpPr>
        <p:spPr>
          <a:xfrm>
            <a:off x="648393" y="982978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662"/>
              </a:spcBef>
              <a:buFontTx/>
              <a:buNone/>
              <a:defRPr sz="1325" b="0" i="0">
                <a:solidFill>
                  <a:schemeClr val="tx1"/>
                </a:solidFill>
                <a:latin typeface="+mn-lt"/>
              </a:defRPr>
            </a:lvl1pPr>
            <a:lvl2pPr marL="302880" indent="0" algn="ctr">
              <a:buNone/>
            </a:lvl2pPr>
            <a:lvl3pPr marL="605757" indent="0" algn="ctr">
              <a:buNone/>
            </a:lvl3pPr>
            <a:lvl4pPr marL="908636" indent="0" algn="ctr">
              <a:buNone/>
            </a:lvl4pPr>
            <a:lvl5pPr marL="1211514" indent="0" algn="ctr">
              <a:buNone/>
            </a:lvl5pPr>
            <a:lvl6pPr marL="1514394" indent="0" algn="ctr">
              <a:buNone/>
            </a:lvl6pPr>
            <a:lvl7pPr marL="1817272" indent="0" algn="ctr">
              <a:buNone/>
            </a:lvl7pPr>
            <a:lvl8pPr marL="2120150" indent="0" algn="ctr">
              <a:buNone/>
            </a:lvl8pPr>
            <a:lvl9pPr marL="2423030" indent="0" algn="ctr">
              <a:buNone/>
            </a:lvl9pPr>
          </a:lstStyle>
          <a:p>
            <a:r>
              <a:rPr lang="en-GB" dirty="0"/>
              <a:t>Click to edit Page Subtitle</a:t>
            </a:r>
          </a:p>
        </p:txBody>
      </p:sp>
      <p:sp>
        <p:nvSpPr>
          <p:cNvPr id="6" name="Table Placeholder 3"/>
          <p:cNvSpPr>
            <a:spLocks noGrp="1"/>
          </p:cNvSpPr>
          <p:nvPr>
            <p:ph type="tbl" sz="quarter" idx="17"/>
          </p:nvPr>
        </p:nvSpPr>
        <p:spPr>
          <a:xfrm>
            <a:off x="629710" y="1829596"/>
            <a:ext cx="5299603" cy="1218406"/>
          </a:xfrm>
          <a:prstGeom prst="rect">
            <a:avLst/>
          </a:prstGeom>
        </p:spPr>
        <p:txBody>
          <a:bodyPr/>
          <a:lstStyle>
            <a:lvl1pPr>
              <a:defRPr sz="106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8"/>
          </p:nvPr>
        </p:nvSpPr>
        <p:spPr>
          <a:xfrm>
            <a:off x="6299731" y="1829596"/>
            <a:ext cx="5299603" cy="1218406"/>
          </a:xfrm>
          <a:prstGeom prst="rect">
            <a:avLst/>
          </a:prstGeom>
        </p:spPr>
        <p:txBody>
          <a:bodyPr/>
          <a:lstStyle>
            <a:lvl1pPr>
              <a:defRPr sz="106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8" name="Table Placeholder 3">
            <a:extLst>
              <a:ext uri="{FF2B5EF4-FFF2-40B4-BE49-F238E27FC236}">
                <a16:creationId xmlns:a16="http://schemas.microsoft.com/office/drawing/2014/main" id="{4F1BABF7-6957-1E46-9C29-23300C58E207}"/>
              </a:ext>
            </a:extLst>
          </p:cNvPr>
          <p:cNvSpPr>
            <a:spLocks noGrp="1"/>
          </p:cNvSpPr>
          <p:nvPr>
            <p:ph type="tbl" sz="quarter" idx="19"/>
          </p:nvPr>
        </p:nvSpPr>
        <p:spPr>
          <a:xfrm>
            <a:off x="629710" y="3283525"/>
            <a:ext cx="5299603" cy="1218406"/>
          </a:xfrm>
          <a:prstGeom prst="rect">
            <a:avLst/>
          </a:prstGeom>
        </p:spPr>
        <p:txBody>
          <a:bodyPr/>
          <a:lstStyle>
            <a:lvl1pPr>
              <a:defRPr sz="106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9" name="Table Placeholder 3">
            <a:extLst>
              <a:ext uri="{FF2B5EF4-FFF2-40B4-BE49-F238E27FC236}">
                <a16:creationId xmlns:a16="http://schemas.microsoft.com/office/drawing/2014/main" id="{D20EBAAF-B9D0-B146-9ED9-3F83CB00C6C0}"/>
              </a:ext>
            </a:extLst>
          </p:cNvPr>
          <p:cNvSpPr>
            <a:spLocks noGrp="1"/>
          </p:cNvSpPr>
          <p:nvPr>
            <p:ph type="tbl" sz="quarter" idx="20"/>
          </p:nvPr>
        </p:nvSpPr>
        <p:spPr>
          <a:xfrm>
            <a:off x="629708" y="4737457"/>
            <a:ext cx="5299603" cy="1218406"/>
          </a:xfrm>
          <a:prstGeom prst="rect">
            <a:avLst/>
          </a:prstGeom>
        </p:spPr>
        <p:txBody>
          <a:bodyPr/>
          <a:lstStyle>
            <a:lvl1pPr>
              <a:defRPr sz="106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10" name="Table Placeholder 6">
            <a:extLst>
              <a:ext uri="{FF2B5EF4-FFF2-40B4-BE49-F238E27FC236}">
                <a16:creationId xmlns:a16="http://schemas.microsoft.com/office/drawing/2014/main" id="{A67649E4-03E4-6843-8249-242CCE0E06FF}"/>
              </a:ext>
            </a:extLst>
          </p:cNvPr>
          <p:cNvSpPr>
            <a:spLocks noGrp="1"/>
          </p:cNvSpPr>
          <p:nvPr>
            <p:ph type="tbl" sz="quarter" idx="21"/>
          </p:nvPr>
        </p:nvSpPr>
        <p:spPr>
          <a:xfrm>
            <a:off x="6299731" y="3283525"/>
            <a:ext cx="5299603" cy="1218406"/>
          </a:xfrm>
          <a:prstGeom prst="rect">
            <a:avLst/>
          </a:prstGeom>
        </p:spPr>
        <p:txBody>
          <a:bodyPr/>
          <a:lstStyle>
            <a:lvl1pPr>
              <a:defRPr sz="106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11" name="Table Placeholder 6">
            <a:extLst>
              <a:ext uri="{FF2B5EF4-FFF2-40B4-BE49-F238E27FC236}">
                <a16:creationId xmlns:a16="http://schemas.microsoft.com/office/drawing/2014/main" id="{BC3469AD-A606-6A47-96C8-7F55EEE1527F}"/>
              </a:ext>
            </a:extLst>
          </p:cNvPr>
          <p:cNvSpPr>
            <a:spLocks noGrp="1"/>
          </p:cNvSpPr>
          <p:nvPr>
            <p:ph type="tbl" sz="quarter" idx="22"/>
          </p:nvPr>
        </p:nvSpPr>
        <p:spPr>
          <a:xfrm>
            <a:off x="6299729" y="4737457"/>
            <a:ext cx="5299603" cy="1218406"/>
          </a:xfrm>
          <a:prstGeom prst="rect">
            <a:avLst/>
          </a:prstGeom>
        </p:spPr>
        <p:txBody>
          <a:bodyPr/>
          <a:lstStyle>
            <a:lvl1pPr>
              <a:defRPr sz="106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pic>
        <p:nvPicPr>
          <p:cNvPr id="12" name="Picture 11" descr="cidimage003.png@01D7C45B.8A5C6CE0">
            <a:extLst>
              <a:ext uri="{FF2B5EF4-FFF2-40B4-BE49-F238E27FC236}">
                <a16:creationId xmlns:a16="http://schemas.microsoft.com/office/drawing/2014/main" id="{D4609622-B2CA-4D91-8102-763775AFF04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5779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Light b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Shape 121"/>
          <p:cNvSpPr/>
          <p:nvPr/>
        </p:nvSpPr>
        <p:spPr>
          <a:xfrm>
            <a:off x="190500" y="6515101"/>
            <a:ext cx="1556516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solidFill>
                  <a:srgbClr val="FFFFFF"/>
                </a:solidFill>
                <a:latin typeface="Open Sans Light"/>
                <a:ea typeface="Open Sans Light"/>
                <a:cs typeface="Open Sans Light"/>
                <a:sym typeface="Open Sans"/>
              </a:defRPr>
            </a:lvl1pPr>
          </a:lstStyle>
          <a:p>
            <a:r>
              <a:rPr sz="700" dirty="0"/>
              <a:t>JPMC digital proprietary confidential</a:t>
            </a:r>
          </a:p>
        </p:txBody>
      </p:sp>
      <p:sp>
        <p:nvSpPr>
          <p:cNvPr id="126" name="Shape 126"/>
          <p:cNvSpPr>
            <a:spLocks noGrp="1"/>
          </p:cNvSpPr>
          <p:nvPr>
            <p:ph type="sldNum" sz="quarter" idx="2"/>
          </p:nvPr>
        </p:nvSpPr>
        <p:spPr>
          <a:xfrm>
            <a:off x="11650066" y="6394450"/>
            <a:ext cx="226619" cy="23495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  <p:pic>
        <p:nvPicPr>
          <p:cNvPr id="4" name="Picture 3" descr="cidimage003.png@01D7C45B.8A5C6CE0">
            <a:extLst>
              <a:ext uri="{FF2B5EF4-FFF2-40B4-BE49-F238E27FC236}">
                <a16:creationId xmlns:a16="http://schemas.microsoft.com/office/drawing/2014/main" id="{5D45F392-9B23-4068-A7FF-599EDEEAFD0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5427908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6349" y="1855694"/>
            <a:ext cx="11039302" cy="3953435"/>
          </a:xfrm>
        </p:spPr>
        <p:txBody>
          <a:bodyPr/>
          <a:lstStyle>
            <a:lvl1pPr>
              <a:defRPr sz="1059" b="0" i="0">
                <a:solidFill>
                  <a:schemeClr val="tx2"/>
                </a:solidFill>
                <a:latin typeface="Arial"/>
              </a:defRPr>
            </a:lvl1pPr>
            <a:lvl2pPr>
              <a:defRPr sz="1059" b="0" i="0">
                <a:solidFill>
                  <a:schemeClr val="tx2"/>
                </a:solidFill>
                <a:latin typeface="Arial"/>
              </a:defRPr>
            </a:lvl2pPr>
            <a:lvl3pPr>
              <a:defRPr sz="1059" b="0" i="0">
                <a:solidFill>
                  <a:schemeClr val="tx2"/>
                </a:solidFill>
                <a:latin typeface="Arial"/>
              </a:defRPr>
            </a:lvl3pPr>
            <a:lvl4pPr>
              <a:defRPr sz="1059" b="0" i="0">
                <a:solidFill>
                  <a:schemeClr val="tx2"/>
                </a:solidFill>
                <a:latin typeface="Arial"/>
              </a:defRPr>
            </a:lvl4pPr>
            <a:lvl5pPr>
              <a:defRPr sz="1059" b="0" i="0">
                <a:solidFill>
                  <a:schemeClr val="tx2"/>
                </a:solidFill>
                <a:latin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ageSubtitle"/>
          <p:cNvSpPr>
            <a:spLocks noGrp="1"/>
          </p:cNvSpPr>
          <p:nvPr>
            <p:ph type="subTitle" sz="quarter" idx="11" hasCustomPrompt="1"/>
          </p:nvPr>
        </p:nvSpPr>
        <p:spPr>
          <a:xfrm>
            <a:off x="576349" y="1169895"/>
            <a:ext cx="11039302" cy="322729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82"/>
              </a:spcBef>
              <a:buFontTx/>
              <a:buNone/>
              <a:defRPr sz="1323" b="0" i="0">
                <a:solidFill>
                  <a:schemeClr val="tx2"/>
                </a:solidFill>
                <a:latin typeface="Arial"/>
              </a:defRPr>
            </a:lvl1pPr>
            <a:lvl2pPr marL="403386" indent="0" algn="ctr">
              <a:buNone/>
            </a:lvl2pPr>
            <a:lvl3pPr marL="806774" indent="0" algn="ctr">
              <a:buNone/>
            </a:lvl3pPr>
            <a:lvl4pPr marL="1210160" indent="0" algn="ctr">
              <a:buNone/>
            </a:lvl4pPr>
            <a:lvl5pPr marL="1613546" indent="0" algn="ctr">
              <a:buNone/>
            </a:lvl5pPr>
            <a:lvl6pPr marL="2016933" indent="0" algn="ctr">
              <a:buNone/>
            </a:lvl6pPr>
            <a:lvl7pPr marL="2420320" indent="0" algn="ctr">
              <a:buNone/>
            </a:lvl7pPr>
            <a:lvl8pPr marL="2823707" indent="0" algn="ctr">
              <a:buNone/>
            </a:lvl8pPr>
            <a:lvl9pPr marL="3227093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5" name="Picture 4" descr="cidimage003.png@01D7C45B.8A5C6CE0">
            <a:extLst>
              <a:ext uri="{FF2B5EF4-FFF2-40B4-BE49-F238E27FC236}">
                <a16:creationId xmlns:a16="http://schemas.microsoft.com/office/drawing/2014/main" id="{8BC553A4-E5BA-4DCD-A1AE-31998135F08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99497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idimage003.png@01D7C45B.8A5C6CE0">
            <a:extLst>
              <a:ext uri="{FF2B5EF4-FFF2-40B4-BE49-F238E27FC236}">
                <a16:creationId xmlns:a16="http://schemas.microsoft.com/office/drawing/2014/main" id="{FFD96413-EFD1-4F50-93E9-AA5C14A123A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34524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21870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9120" y="290973"/>
            <a:ext cx="11041380" cy="601980"/>
          </a:xfrm>
          <a:prstGeom prst="rect">
            <a:avLst/>
          </a:prstGeom>
        </p:spPr>
        <p:txBody>
          <a:bodyPr/>
          <a:lstStyle>
            <a:lvl1pPr>
              <a:defRPr sz="3333">
                <a:latin typeface="+mj-lt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4" name="PageSubtitle"/>
          <p:cNvSpPr>
            <a:spLocks noGrp="1"/>
          </p:cNvSpPr>
          <p:nvPr>
            <p:ph type="subTitle" sz="quarter" idx="11" hasCustomPrompt="1"/>
          </p:nvPr>
        </p:nvSpPr>
        <p:spPr>
          <a:xfrm>
            <a:off x="635563" y="990035"/>
            <a:ext cx="10984937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667" b="0" i="0">
                <a:solidFill>
                  <a:schemeClr val="tx1"/>
                </a:solidFill>
                <a:latin typeface="+mn-lt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 dirty="0"/>
              <a:t>Click to edit Page Sub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565004" y="1844880"/>
            <a:ext cx="7874000" cy="254000"/>
          </a:xfrm>
          <a:prstGeom prst="rect">
            <a:avLst/>
          </a:prstGeom>
        </p:spPr>
        <p:txBody>
          <a:bodyPr/>
          <a:lstStyle>
            <a:lvl1pPr>
              <a:defRPr sz="1500" b="1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sz="1500" b="1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2pPr>
            <a:lvl3pPr>
              <a:defRPr sz="1500" b="1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3pPr>
            <a:lvl4pPr>
              <a:defRPr sz="1500" b="1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4pPr>
            <a:lvl5pPr>
              <a:defRPr sz="1500" b="1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lvl="0"/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35000" y="2262188"/>
            <a:ext cx="10985500" cy="3607594"/>
          </a:xfrm>
          <a:prstGeom prst="rect">
            <a:avLst/>
          </a:prstGeom>
        </p:spPr>
        <p:txBody>
          <a:bodyPr/>
          <a:lstStyle>
            <a:lvl1pPr>
              <a:defRPr sz="1333">
                <a:solidFill>
                  <a:schemeClr val="tx1"/>
                </a:solidFill>
                <a:latin typeface="+mn-lt"/>
              </a:defRPr>
            </a:lvl1pPr>
            <a:lvl2pPr>
              <a:defRPr sz="1333">
                <a:solidFill>
                  <a:schemeClr val="tx1"/>
                </a:solidFill>
                <a:latin typeface="+mn-lt"/>
              </a:defRPr>
            </a:lvl2pPr>
            <a:lvl3pPr>
              <a:buClr>
                <a:schemeClr val="tx1"/>
              </a:buClr>
              <a:defRPr sz="1333">
                <a:solidFill>
                  <a:schemeClr val="tx1"/>
                </a:solidFill>
                <a:latin typeface="+mn-lt"/>
              </a:defRPr>
            </a:lvl3pPr>
            <a:lvl4pPr>
              <a:buClr>
                <a:schemeClr val="tx1"/>
              </a:buClr>
              <a:defRPr sz="1333">
                <a:solidFill>
                  <a:schemeClr val="tx1"/>
                </a:solidFill>
                <a:latin typeface="+mn-lt"/>
              </a:defRPr>
            </a:lvl4pPr>
            <a:lvl5pPr>
              <a:buClr>
                <a:schemeClr val="tx1"/>
              </a:buClr>
              <a:defRPr sz="1333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Google Shape;56;p14">
            <a:extLst>
              <a:ext uri="{FF2B5EF4-FFF2-40B4-BE49-F238E27FC236}">
                <a16:creationId xmlns:a16="http://schemas.microsoft.com/office/drawing/2014/main" id="{FF642FB8-E91C-42E5-B392-179318A08548}"/>
              </a:ext>
            </a:extLst>
          </p:cNvPr>
          <p:cNvSpPr txBox="1">
            <a:spLocks noGrp="1"/>
          </p:cNvSpPr>
          <p:nvPr>
            <p:ph type="sldNum" idx="15"/>
          </p:nvPr>
        </p:nvSpPr>
        <p:spPr>
          <a:xfrm rot="-5400000">
            <a:off x="24467" y="6060700"/>
            <a:ext cx="531200" cy="44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 sz="933">
                <a:solidFill>
                  <a:srgbClr val="0091DA"/>
                </a:solidFill>
                <a:latin typeface="DM Sans Medium"/>
                <a:ea typeface="DM Sans Medium"/>
                <a:cs typeface="DM Sans Medium"/>
                <a:sym typeface="DM Sans Medium"/>
              </a:defRPr>
            </a:lvl1pPr>
            <a:lvl2pPr lvl="1" rtl="0">
              <a:buNone/>
              <a:defRPr sz="933">
                <a:solidFill>
                  <a:srgbClr val="0091DA"/>
                </a:solidFill>
                <a:latin typeface="DM Sans Medium"/>
                <a:ea typeface="DM Sans Medium"/>
                <a:cs typeface="DM Sans Medium"/>
                <a:sym typeface="DM Sans Medium"/>
              </a:defRPr>
            </a:lvl2pPr>
            <a:lvl3pPr lvl="2" rtl="0">
              <a:buNone/>
              <a:defRPr sz="933">
                <a:solidFill>
                  <a:srgbClr val="0091DA"/>
                </a:solidFill>
                <a:latin typeface="DM Sans Medium"/>
                <a:ea typeface="DM Sans Medium"/>
                <a:cs typeface="DM Sans Medium"/>
                <a:sym typeface="DM Sans Medium"/>
              </a:defRPr>
            </a:lvl3pPr>
            <a:lvl4pPr lvl="3" rtl="0">
              <a:buNone/>
              <a:defRPr sz="933">
                <a:solidFill>
                  <a:srgbClr val="0091DA"/>
                </a:solidFill>
                <a:latin typeface="DM Sans Medium"/>
                <a:ea typeface="DM Sans Medium"/>
                <a:cs typeface="DM Sans Medium"/>
                <a:sym typeface="DM Sans Medium"/>
              </a:defRPr>
            </a:lvl4pPr>
            <a:lvl5pPr lvl="4" rtl="0">
              <a:buNone/>
              <a:defRPr sz="933">
                <a:solidFill>
                  <a:srgbClr val="0091DA"/>
                </a:solidFill>
                <a:latin typeface="DM Sans Medium"/>
                <a:ea typeface="DM Sans Medium"/>
                <a:cs typeface="DM Sans Medium"/>
                <a:sym typeface="DM Sans Medium"/>
              </a:defRPr>
            </a:lvl5pPr>
            <a:lvl6pPr lvl="5" rtl="0">
              <a:buNone/>
              <a:defRPr sz="933">
                <a:solidFill>
                  <a:srgbClr val="0091DA"/>
                </a:solidFill>
                <a:latin typeface="DM Sans Medium"/>
                <a:ea typeface="DM Sans Medium"/>
                <a:cs typeface="DM Sans Medium"/>
                <a:sym typeface="DM Sans Medium"/>
              </a:defRPr>
            </a:lvl6pPr>
            <a:lvl7pPr lvl="6" rtl="0">
              <a:buNone/>
              <a:defRPr sz="933">
                <a:solidFill>
                  <a:srgbClr val="0091DA"/>
                </a:solidFill>
                <a:latin typeface="DM Sans Medium"/>
                <a:ea typeface="DM Sans Medium"/>
                <a:cs typeface="DM Sans Medium"/>
                <a:sym typeface="DM Sans Medium"/>
              </a:defRPr>
            </a:lvl7pPr>
            <a:lvl8pPr lvl="7" rtl="0">
              <a:buNone/>
              <a:defRPr sz="933">
                <a:solidFill>
                  <a:srgbClr val="0091DA"/>
                </a:solidFill>
                <a:latin typeface="DM Sans Medium"/>
                <a:ea typeface="DM Sans Medium"/>
                <a:cs typeface="DM Sans Medium"/>
                <a:sym typeface="DM Sans Medium"/>
              </a:defRPr>
            </a:lvl8pPr>
            <a:lvl9pPr lvl="8" rtl="0">
              <a:buNone/>
              <a:defRPr sz="933">
                <a:solidFill>
                  <a:srgbClr val="0091DA"/>
                </a:solidFill>
                <a:latin typeface="DM Sans Medium"/>
                <a:ea typeface="DM Sans Medium"/>
                <a:cs typeface="DM Sans Medium"/>
                <a:sym typeface="DM Sans Medium"/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 dirty="0"/>
          </a:p>
        </p:txBody>
      </p:sp>
      <p:pic>
        <p:nvPicPr>
          <p:cNvPr id="7" name="Picture 6" descr="cidimage003.png@01D7C45B.8A5C6CE0">
            <a:extLst>
              <a:ext uri="{FF2B5EF4-FFF2-40B4-BE49-F238E27FC236}">
                <a16:creationId xmlns:a16="http://schemas.microsoft.com/office/drawing/2014/main" id="{A3573B28-7176-4839-8F3C-F9FE7A352CC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46431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09824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PTY WHITE" preserve="1">
  <p:cSld name="EMPTY WHITE">
    <p:spTree>
      <p:nvGrpSpPr>
        <p:cNvPr id="1" name="Shape 6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2" name="Google Shape;622;p155"/>
          <p:cNvSpPr txBox="1"/>
          <p:nvPr/>
        </p:nvSpPr>
        <p:spPr>
          <a:xfrm rot="-5400000">
            <a:off x="-194333" y="3366820"/>
            <a:ext cx="746800" cy="2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-GB" sz="667" dirty="0">
                <a:solidFill>
                  <a:srgbClr val="B7B7B7"/>
                </a:solidFill>
                <a:latin typeface="Open Sans Light"/>
                <a:ea typeface="Open Sans Light"/>
                <a:cs typeface="Open Sans Light"/>
                <a:sym typeface="Open Sans"/>
              </a:rPr>
              <a:t>P A G E  </a:t>
            </a:r>
            <a:fld id="{00000000-1234-1234-1234-123412341234}" type="slidenum">
              <a:rPr lang="en-GB" sz="667">
                <a:solidFill>
                  <a:srgbClr val="B7B7B7"/>
                </a:solidFill>
                <a:latin typeface="Open Sans Light"/>
                <a:ea typeface="Open Sans Light"/>
                <a:cs typeface="Open Sans Light"/>
                <a:sym typeface="Open Sans"/>
              </a:rPr>
              <a:pPr algn="ctr"/>
              <a:t>‹#›</a:t>
            </a:fld>
            <a:endParaRPr sz="667" dirty="0">
              <a:solidFill>
                <a:srgbClr val="B7B7B7"/>
              </a:solidFill>
              <a:latin typeface="Open Sans Light"/>
              <a:ea typeface="Open Sans Light"/>
              <a:cs typeface="Open Sans Light"/>
              <a:sym typeface="Open Sans"/>
            </a:endParaRPr>
          </a:p>
        </p:txBody>
      </p:sp>
      <p:pic>
        <p:nvPicPr>
          <p:cNvPr id="3" name="Picture 2" descr="cidimage003.png@01D7C45B.8A5C6CE0">
            <a:extLst>
              <a:ext uri="{FF2B5EF4-FFF2-40B4-BE49-F238E27FC236}">
                <a16:creationId xmlns:a16="http://schemas.microsoft.com/office/drawing/2014/main" id="{C50986B7-7590-4E37-B524-730701122A5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58314" y="6146431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27393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ank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53227564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333">
                <a:solidFill>
                  <a:schemeClr val="bg2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83407" y="1264228"/>
            <a:ext cx="11037093" cy="4667250"/>
          </a:xfrm>
          <a:prstGeom prst="rect">
            <a:avLst/>
          </a:prstGeom>
        </p:spPr>
        <p:txBody>
          <a:bodyPr/>
          <a:lstStyle>
            <a:lvl1pPr>
              <a:defRPr sz="1167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167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 marL="375693" indent="-174618">
              <a:defRPr sz="1167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 marL="592643" indent="-182555">
              <a:defRPr sz="1167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 marL="809593" indent="-190492">
              <a:defRPr sz="1167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 descr="cidimage003.png@01D7C45B.8A5C6CE0">
            <a:extLst>
              <a:ext uri="{FF2B5EF4-FFF2-40B4-BE49-F238E27FC236}">
                <a16:creationId xmlns:a16="http://schemas.microsoft.com/office/drawing/2014/main" id="{96062F4F-D48E-42BA-90B1-956D8991D4B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46407" y="6122618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77881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ark b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Image" descr="Imag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538" y="200816"/>
            <a:ext cx="888463" cy="1651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8" name="Image" descr="Image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3041"/>
            <a:ext cx="870967" cy="171451"/>
          </a:xfrm>
          <a:prstGeom prst="rect">
            <a:avLst/>
          </a:prstGeom>
          <a:ln w="12700">
            <a:miter lim="400000"/>
          </a:ln>
        </p:spPr>
      </p:pic>
      <p:sp>
        <p:nvSpPr>
          <p:cNvPr id="39" name="Line"/>
          <p:cNvSpPr/>
          <p:nvPr/>
        </p:nvSpPr>
        <p:spPr>
          <a:xfrm flipV="1">
            <a:off x="1237650" y="213041"/>
            <a:ext cx="1" cy="140651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40" name="JPMC digital proprietary confidential"/>
          <p:cNvSpPr txBox="1"/>
          <p:nvPr/>
        </p:nvSpPr>
        <p:spPr>
          <a:xfrm>
            <a:off x="10616503" y="205933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41" name="Employee experience"/>
          <p:cNvSpPr txBox="1"/>
          <p:nvPr/>
        </p:nvSpPr>
        <p:spPr>
          <a:xfrm>
            <a:off x="2545871" y="178678"/>
            <a:ext cx="918970" cy="2132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lnSpc>
                <a:spcPct val="130000"/>
              </a:lnSpc>
              <a:defRPr sz="1800" spc="-36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lang="en-GB" sz="900" dirty="0"/>
              <a:t>Talent and culture </a:t>
            </a:r>
            <a:endParaRPr sz="900" dirty="0"/>
          </a:p>
        </p:txBody>
      </p:sp>
      <p:sp>
        <p:nvSpPr>
          <p:cNvPr id="42" name="Line"/>
          <p:cNvSpPr/>
          <p:nvPr/>
        </p:nvSpPr>
        <p:spPr>
          <a:xfrm flipV="1">
            <a:off x="2401915" y="213041"/>
            <a:ext cx="1" cy="140651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4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06034822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ark bg w/ page #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Image" descr="Imag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538" y="200816"/>
            <a:ext cx="888463" cy="165101"/>
          </a:xfrm>
          <a:prstGeom prst="rect">
            <a:avLst/>
          </a:prstGeom>
          <a:ln w="12700">
            <a:miter lim="400000"/>
          </a:ln>
        </p:spPr>
      </p:pic>
      <p:pic>
        <p:nvPicPr>
          <p:cNvPr id="51" name="Image" descr="Image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3041"/>
            <a:ext cx="870967" cy="171451"/>
          </a:xfrm>
          <a:prstGeom prst="rect">
            <a:avLst/>
          </a:prstGeom>
          <a:ln w="12700">
            <a:miter lim="400000"/>
          </a:ln>
        </p:spPr>
      </p:pic>
      <p:sp>
        <p:nvSpPr>
          <p:cNvPr id="52" name="Line"/>
          <p:cNvSpPr/>
          <p:nvPr/>
        </p:nvSpPr>
        <p:spPr>
          <a:xfrm flipV="1">
            <a:off x="1237650" y="213041"/>
            <a:ext cx="1" cy="140651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53" name="Line"/>
          <p:cNvSpPr/>
          <p:nvPr/>
        </p:nvSpPr>
        <p:spPr>
          <a:xfrm flipV="1">
            <a:off x="2401915" y="213041"/>
            <a:ext cx="1" cy="140651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54" name="JPMC digital proprietary confidential"/>
          <p:cNvSpPr txBox="1"/>
          <p:nvPr/>
        </p:nvSpPr>
        <p:spPr>
          <a:xfrm>
            <a:off x="10616503" y="205933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55" name="Employee experience"/>
          <p:cNvSpPr txBox="1"/>
          <p:nvPr/>
        </p:nvSpPr>
        <p:spPr>
          <a:xfrm>
            <a:off x="2545871" y="178678"/>
            <a:ext cx="944618" cy="2132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lnSpc>
                <a:spcPct val="130000"/>
              </a:lnSpc>
              <a:defRPr sz="1800" spc="-36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lang="en-GB" sz="900" dirty="0"/>
              <a:t>Talent and Culture </a:t>
            </a:r>
          </a:p>
        </p:txBody>
      </p:sp>
      <p:sp>
        <p:nvSpPr>
          <p:cNvPr id="5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96103" y="6470650"/>
            <a:ext cx="290144" cy="287258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678228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ark tex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Template_BG_01B.jpg" descr="Template_BG_01B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77" name="Image" descr="Image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538" y="200816"/>
            <a:ext cx="888463" cy="165101"/>
          </a:xfrm>
          <a:prstGeom prst="rect">
            <a:avLst/>
          </a:prstGeom>
          <a:ln w="12700">
            <a:miter lim="400000"/>
          </a:ln>
        </p:spPr>
      </p:pic>
      <p:pic>
        <p:nvPicPr>
          <p:cNvPr id="78" name="Image" descr="Image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3041"/>
            <a:ext cx="870967" cy="171451"/>
          </a:xfrm>
          <a:prstGeom prst="rect">
            <a:avLst/>
          </a:prstGeom>
          <a:ln w="12700">
            <a:miter lim="400000"/>
          </a:ln>
        </p:spPr>
      </p:pic>
      <p:sp>
        <p:nvSpPr>
          <p:cNvPr id="79" name="Line"/>
          <p:cNvSpPr/>
          <p:nvPr/>
        </p:nvSpPr>
        <p:spPr>
          <a:xfrm flipV="1">
            <a:off x="1237650" y="213041"/>
            <a:ext cx="1" cy="140651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80" name="Line"/>
          <p:cNvSpPr/>
          <p:nvPr/>
        </p:nvSpPr>
        <p:spPr>
          <a:xfrm flipV="1">
            <a:off x="2401915" y="213041"/>
            <a:ext cx="1" cy="140651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81" name="JPMC digital proprietary confidential"/>
          <p:cNvSpPr txBox="1"/>
          <p:nvPr/>
        </p:nvSpPr>
        <p:spPr>
          <a:xfrm>
            <a:off x="10616503" y="205933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82" name="Employee experience"/>
          <p:cNvSpPr txBox="1"/>
          <p:nvPr/>
        </p:nvSpPr>
        <p:spPr>
          <a:xfrm>
            <a:off x="2545871" y="178677"/>
            <a:ext cx="1072858" cy="2132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lnSpc>
                <a:spcPct val="130000"/>
              </a:lnSpc>
              <a:defRPr sz="1800" spc="-36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900"/>
              <a:t>Employee experience</a:t>
            </a:r>
          </a:p>
        </p:txBody>
      </p:sp>
      <p:sp>
        <p:nvSpPr>
          <p:cNvPr id="8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96103" y="6470650"/>
            <a:ext cx="290144" cy="287258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8137596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Dark textur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" name="Template_BG_01B.jpg" descr="Template_BG_01B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91" name="Image" descr="Image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538" y="200816"/>
            <a:ext cx="888463" cy="165101"/>
          </a:xfrm>
          <a:prstGeom prst="rect">
            <a:avLst/>
          </a:prstGeom>
          <a:ln w="12700">
            <a:miter lim="400000"/>
          </a:ln>
        </p:spPr>
      </p:pic>
      <p:pic>
        <p:nvPicPr>
          <p:cNvPr id="92" name="Image" descr="Image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3041"/>
            <a:ext cx="870967" cy="171451"/>
          </a:xfrm>
          <a:prstGeom prst="rect">
            <a:avLst/>
          </a:prstGeom>
          <a:ln w="12700">
            <a:miter lim="400000"/>
          </a:ln>
        </p:spPr>
      </p:pic>
      <p:sp>
        <p:nvSpPr>
          <p:cNvPr id="93" name="Line"/>
          <p:cNvSpPr/>
          <p:nvPr/>
        </p:nvSpPr>
        <p:spPr>
          <a:xfrm flipV="1">
            <a:off x="1237650" y="213041"/>
            <a:ext cx="1" cy="140651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94" name="JPMC digital proprietary confidential"/>
          <p:cNvSpPr txBox="1"/>
          <p:nvPr/>
        </p:nvSpPr>
        <p:spPr>
          <a:xfrm>
            <a:off x="10616503" y="205933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95" name="Employee experience"/>
          <p:cNvSpPr txBox="1"/>
          <p:nvPr/>
        </p:nvSpPr>
        <p:spPr>
          <a:xfrm>
            <a:off x="2545871" y="178870"/>
            <a:ext cx="675570" cy="2128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lnSpc>
                <a:spcPct val="130000"/>
              </a:lnSpc>
              <a:defRPr sz="1800" spc="-36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lang="pl-PL" sz="900" b="1" dirty="0"/>
              <a:t>ICB Catalyst</a:t>
            </a:r>
            <a:endParaRPr sz="900" b="1" dirty="0"/>
          </a:p>
        </p:txBody>
      </p:sp>
      <p:sp>
        <p:nvSpPr>
          <p:cNvPr id="96" name="Line"/>
          <p:cNvSpPr/>
          <p:nvPr/>
        </p:nvSpPr>
        <p:spPr>
          <a:xfrm flipV="1">
            <a:off x="2401915" y="213041"/>
            <a:ext cx="1" cy="140651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9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96103" y="6470650"/>
            <a:ext cx="290144" cy="287258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3204715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ight bg w/ page #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" name="Image" descr="Imag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241" y="202706"/>
            <a:ext cx="889001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162" name="JPMC digital proprietary confidential"/>
          <p:cNvSpPr txBox="1"/>
          <p:nvPr/>
        </p:nvSpPr>
        <p:spPr>
          <a:xfrm>
            <a:off x="190500" y="6515100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163" name="JPMC digital proprietary confidential"/>
          <p:cNvSpPr txBox="1"/>
          <p:nvPr/>
        </p:nvSpPr>
        <p:spPr>
          <a:xfrm>
            <a:off x="203200" y="6515100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solidFill>
                  <a:srgbClr val="424242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164" name="Image" descr="Image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2250"/>
            <a:ext cx="869950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165" name="Line"/>
          <p:cNvSpPr/>
          <p:nvPr/>
        </p:nvSpPr>
        <p:spPr>
          <a:xfrm flipV="1">
            <a:off x="2399220" y="213041"/>
            <a:ext cx="1" cy="140651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166" name="Line"/>
          <p:cNvSpPr/>
          <p:nvPr/>
        </p:nvSpPr>
        <p:spPr>
          <a:xfrm flipV="1">
            <a:off x="1237650" y="213041"/>
            <a:ext cx="1" cy="140651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167" name="Service Design Introduction"/>
          <p:cNvSpPr txBox="1"/>
          <p:nvPr/>
        </p:nvSpPr>
        <p:spPr>
          <a:xfrm>
            <a:off x="2545871" y="178677"/>
            <a:ext cx="1337289" cy="2132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lnSpc>
                <a:spcPct val="130000"/>
              </a:lnSpc>
              <a:defRPr sz="1800" spc="-36">
                <a:solidFill>
                  <a:srgbClr val="797979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900"/>
              <a:t>Service Design Introduction</a:t>
            </a:r>
          </a:p>
        </p:txBody>
      </p:sp>
      <p:sp>
        <p:nvSpPr>
          <p:cNvPr id="16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79151" y="6464300"/>
            <a:ext cx="282130" cy="28725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A2B4A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91750173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ight bg Quo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Circle"/>
          <p:cNvSpPr/>
          <p:nvPr/>
        </p:nvSpPr>
        <p:spPr>
          <a:xfrm>
            <a:off x="4354959" y="-1319597"/>
            <a:ext cx="9678096" cy="9678096"/>
          </a:xfrm>
          <a:prstGeom prst="ellipse">
            <a:avLst/>
          </a:prstGeom>
          <a:solidFill>
            <a:srgbClr val="F7A200">
              <a:alpha val="55281"/>
            </a:srgb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spc="0"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/>
          </a:p>
        </p:txBody>
      </p:sp>
      <p:sp>
        <p:nvSpPr>
          <p:cNvPr id="176" name="JPMC digital proprietary confidential"/>
          <p:cNvSpPr txBox="1"/>
          <p:nvPr/>
        </p:nvSpPr>
        <p:spPr>
          <a:xfrm>
            <a:off x="190500" y="6515100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177" name="Image" descr="Imag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241" y="202706"/>
            <a:ext cx="889001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178" name="JPMC digital proprietary confidential"/>
          <p:cNvSpPr txBox="1"/>
          <p:nvPr/>
        </p:nvSpPr>
        <p:spPr>
          <a:xfrm>
            <a:off x="10616503" y="205933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solidFill>
                  <a:srgbClr val="424242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179" name="Image" descr="Image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2250"/>
            <a:ext cx="869950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180" name="Line"/>
          <p:cNvSpPr/>
          <p:nvPr/>
        </p:nvSpPr>
        <p:spPr>
          <a:xfrm flipV="1">
            <a:off x="2399220" y="213041"/>
            <a:ext cx="1" cy="140651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181" name="Line"/>
          <p:cNvSpPr/>
          <p:nvPr/>
        </p:nvSpPr>
        <p:spPr>
          <a:xfrm flipV="1">
            <a:off x="1237650" y="213041"/>
            <a:ext cx="1" cy="140651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182" name="Employee experience"/>
          <p:cNvSpPr txBox="1"/>
          <p:nvPr/>
        </p:nvSpPr>
        <p:spPr>
          <a:xfrm>
            <a:off x="2545871" y="178678"/>
            <a:ext cx="944618" cy="2132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lnSpc>
                <a:spcPct val="130000"/>
              </a:lnSpc>
              <a:defRPr sz="1800" spc="-36">
                <a:solidFill>
                  <a:srgbClr val="797979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lang="en-GB" sz="900" dirty="0"/>
              <a:t>Talent and Culture </a:t>
            </a:r>
            <a:endParaRPr sz="900" dirty="0"/>
          </a:p>
        </p:txBody>
      </p:sp>
      <p:sp>
        <p:nvSpPr>
          <p:cNvPr id="18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57024590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Light bg w/ page #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0" name="pasted-image.pdf" descr="pasted-image.pd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752" y="202706"/>
            <a:ext cx="889002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191" name="Shape 147"/>
          <p:cNvSpPr txBox="1"/>
          <p:nvPr/>
        </p:nvSpPr>
        <p:spPr>
          <a:xfrm>
            <a:off x="6160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192" name="Shape 148"/>
          <p:cNvSpPr txBox="1"/>
          <p:nvPr/>
        </p:nvSpPr>
        <p:spPr>
          <a:xfrm>
            <a:off x="6287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solidFill>
                  <a:srgbClr val="424242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193" name="pasted-image.pdf" descr="pasted-image.pd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9812" y="222250"/>
            <a:ext cx="869951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194" name="Shape 151"/>
          <p:cNvSpPr/>
          <p:nvPr/>
        </p:nvSpPr>
        <p:spPr>
          <a:xfrm flipV="1">
            <a:off x="1663163" y="213040"/>
            <a:ext cx="1" cy="154874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19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70687" y="6617191"/>
            <a:ext cx="138945" cy="184662"/>
          </a:xfrm>
          <a:prstGeom prst="rect">
            <a:avLst/>
          </a:prstGeom>
        </p:spPr>
        <p:txBody>
          <a:bodyPr lIns="45718" tIns="45718" rIns="45718" bIns="45718" anchor="b"/>
          <a:lstStyle>
            <a:lvl1pPr algn="r" defTabSz="292100">
              <a:defRPr sz="600" spc="-108">
                <a:solidFill>
                  <a:srgbClr val="424242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7335144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Light bg w/ page #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4" name="pasted-image.pdf" descr="pasted-image.pd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752" y="202706"/>
            <a:ext cx="889002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215" name="Shape 147"/>
          <p:cNvSpPr txBox="1"/>
          <p:nvPr/>
        </p:nvSpPr>
        <p:spPr>
          <a:xfrm>
            <a:off x="6160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216" name="Shape 148"/>
          <p:cNvSpPr txBox="1"/>
          <p:nvPr/>
        </p:nvSpPr>
        <p:spPr>
          <a:xfrm>
            <a:off x="6287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solidFill>
                  <a:srgbClr val="424242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217" name="pasted-image.pdf" descr="pasted-image.pd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9812" y="222250"/>
            <a:ext cx="869951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218" name="Shape 151"/>
          <p:cNvSpPr/>
          <p:nvPr/>
        </p:nvSpPr>
        <p:spPr>
          <a:xfrm flipV="1">
            <a:off x="1663163" y="213040"/>
            <a:ext cx="1" cy="154874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21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70687" y="6617191"/>
            <a:ext cx="138945" cy="184662"/>
          </a:xfrm>
          <a:prstGeom prst="rect">
            <a:avLst/>
          </a:prstGeom>
        </p:spPr>
        <p:txBody>
          <a:bodyPr lIns="45718" tIns="45718" rIns="45718" bIns="45718" anchor="b"/>
          <a:lstStyle>
            <a:lvl1pPr algn="r" defTabSz="292100">
              <a:defRPr sz="600" spc="-108">
                <a:solidFill>
                  <a:srgbClr val="424242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66580501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Light bg w/ page #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6" name="pasted-image.pdf" descr="pasted-image.pd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752" y="202706"/>
            <a:ext cx="889002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227" name="Shape 147"/>
          <p:cNvSpPr txBox="1"/>
          <p:nvPr/>
        </p:nvSpPr>
        <p:spPr>
          <a:xfrm>
            <a:off x="6160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228" name="Shape 148"/>
          <p:cNvSpPr txBox="1"/>
          <p:nvPr/>
        </p:nvSpPr>
        <p:spPr>
          <a:xfrm>
            <a:off x="6287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solidFill>
                  <a:srgbClr val="424242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229" name="pasted-image.pdf" descr="pasted-image.pd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9812" y="222250"/>
            <a:ext cx="869951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230" name="Shape 151"/>
          <p:cNvSpPr/>
          <p:nvPr/>
        </p:nvSpPr>
        <p:spPr>
          <a:xfrm flipV="1">
            <a:off x="1663163" y="213040"/>
            <a:ext cx="1" cy="154874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23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70687" y="6617191"/>
            <a:ext cx="138945" cy="184662"/>
          </a:xfrm>
          <a:prstGeom prst="rect">
            <a:avLst/>
          </a:prstGeom>
        </p:spPr>
        <p:txBody>
          <a:bodyPr lIns="45718" tIns="45718" rIns="45718" bIns="45718" anchor="b"/>
          <a:lstStyle>
            <a:lvl1pPr algn="r" defTabSz="292100">
              <a:defRPr sz="600" spc="-108">
                <a:solidFill>
                  <a:srgbClr val="424242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0544835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Light bg w/ page #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" name="pasted-image.pdf" descr="pasted-image.pd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752" y="202706"/>
            <a:ext cx="889002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239" name="Shape 147"/>
          <p:cNvSpPr txBox="1"/>
          <p:nvPr/>
        </p:nvSpPr>
        <p:spPr>
          <a:xfrm>
            <a:off x="6160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240" name="Shape 148"/>
          <p:cNvSpPr txBox="1"/>
          <p:nvPr/>
        </p:nvSpPr>
        <p:spPr>
          <a:xfrm>
            <a:off x="6287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solidFill>
                  <a:srgbClr val="424242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241" name="pasted-image.pdf" descr="pasted-image.pd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9812" y="222250"/>
            <a:ext cx="869951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242" name="Shape 151"/>
          <p:cNvSpPr/>
          <p:nvPr/>
        </p:nvSpPr>
        <p:spPr>
          <a:xfrm flipV="1">
            <a:off x="1663163" y="213040"/>
            <a:ext cx="1" cy="154874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24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70687" y="6617191"/>
            <a:ext cx="138945" cy="184662"/>
          </a:xfrm>
          <a:prstGeom prst="rect">
            <a:avLst/>
          </a:prstGeom>
        </p:spPr>
        <p:txBody>
          <a:bodyPr lIns="45718" tIns="45718" rIns="45718" bIns="45718" anchor="b"/>
          <a:lstStyle>
            <a:lvl1pPr algn="r" defTabSz="292100">
              <a:defRPr sz="600" spc="-108">
                <a:solidFill>
                  <a:srgbClr val="424242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62307148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9120" y="403860"/>
            <a:ext cx="11041380" cy="601980"/>
          </a:xfrm>
        </p:spPr>
        <p:txBody>
          <a:bodyPr/>
          <a:lstStyle>
            <a:lvl1pPr>
              <a:defRPr sz="2333">
                <a:solidFill>
                  <a:schemeClr val="bg2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83407" y="1264228"/>
            <a:ext cx="11037093" cy="4745183"/>
          </a:xfrm>
          <a:prstGeom prst="rect">
            <a:avLst/>
          </a:prstGeom>
        </p:spPr>
        <p:txBody>
          <a:bodyPr/>
          <a:lstStyle>
            <a:lvl1pPr>
              <a:defRPr sz="1167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167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 marL="375693" indent="-174618">
              <a:defRPr sz="1167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 marL="592643" indent="-182555">
              <a:defRPr sz="1167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 marL="809593" indent="-190492">
              <a:defRPr sz="1167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" name="Picture 3" descr="cidimage003.png@01D7C45B.8A5C6CE0">
            <a:extLst>
              <a:ext uri="{FF2B5EF4-FFF2-40B4-BE49-F238E27FC236}">
                <a16:creationId xmlns:a16="http://schemas.microsoft.com/office/drawing/2014/main" id="{528BCFCC-4876-459D-842C-CDDCA398064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46407" y="6122618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75242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_Light bg w/ page #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0" name="pasted-image.pdf" descr="pasted-image.pd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752" y="202706"/>
            <a:ext cx="889002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251" name="Shape 147"/>
          <p:cNvSpPr txBox="1"/>
          <p:nvPr/>
        </p:nvSpPr>
        <p:spPr>
          <a:xfrm>
            <a:off x="6160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252" name="Shape 148"/>
          <p:cNvSpPr txBox="1"/>
          <p:nvPr/>
        </p:nvSpPr>
        <p:spPr>
          <a:xfrm>
            <a:off x="6287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solidFill>
                  <a:srgbClr val="424242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253" name="pasted-image.pdf" descr="pasted-image.pd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9812" y="222250"/>
            <a:ext cx="869951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254" name="Shape 151"/>
          <p:cNvSpPr/>
          <p:nvPr/>
        </p:nvSpPr>
        <p:spPr>
          <a:xfrm flipV="1">
            <a:off x="1663163" y="213040"/>
            <a:ext cx="1" cy="154874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25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70687" y="6617191"/>
            <a:ext cx="138945" cy="184662"/>
          </a:xfrm>
          <a:prstGeom prst="rect">
            <a:avLst/>
          </a:prstGeom>
        </p:spPr>
        <p:txBody>
          <a:bodyPr lIns="45718" tIns="45718" rIns="45718" bIns="45718" anchor="b"/>
          <a:lstStyle>
            <a:lvl1pPr algn="r" defTabSz="292100">
              <a:defRPr sz="600" spc="-108">
                <a:solidFill>
                  <a:srgbClr val="424242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2926219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ark bg Quo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Shape 54"/>
          <p:cNvSpPr/>
          <p:nvPr/>
        </p:nvSpPr>
        <p:spPr>
          <a:xfrm>
            <a:off x="4354959" y="-1317520"/>
            <a:ext cx="9678096" cy="9678097"/>
          </a:xfrm>
          <a:prstGeom prst="ellipse">
            <a:avLst/>
          </a:prstGeom>
          <a:solidFill>
            <a:schemeClr val="accent1">
              <a:lumOff val="-7647"/>
            </a:scheme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spc="0">
                <a:latin typeface="Open Sans Regular"/>
                <a:ea typeface="Open Sans Regular"/>
                <a:cs typeface="Open Sans Regular"/>
                <a:sym typeface="Open Sans Regular"/>
              </a:defRPr>
            </a:pPr>
            <a:endParaRPr sz="1600"/>
          </a:p>
        </p:txBody>
      </p:sp>
      <p:sp>
        <p:nvSpPr>
          <p:cNvPr id="263" name="Shape 59"/>
          <p:cNvSpPr txBox="1"/>
          <p:nvPr/>
        </p:nvSpPr>
        <p:spPr>
          <a:xfrm>
            <a:off x="203199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264" name="pasted-image.pdf" descr="pasted-image.pd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241" y="202706"/>
            <a:ext cx="889001" cy="165209"/>
          </a:xfrm>
          <a:prstGeom prst="rect">
            <a:avLst/>
          </a:prstGeom>
          <a:ln w="12700">
            <a:miter lim="400000"/>
          </a:ln>
        </p:spPr>
      </p:pic>
      <p:pic>
        <p:nvPicPr>
          <p:cNvPr id="265" name="pasted-image.pdf" descr="pasted-image.pd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2250"/>
            <a:ext cx="869950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266" name="Shape 151"/>
          <p:cNvSpPr/>
          <p:nvPr/>
        </p:nvSpPr>
        <p:spPr>
          <a:xfrm flipV="1">
            <a:off x="1237651" y="213040"/>
            <a:ext cx="1" cy="154874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26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70687" y="6617191"/>
            <a:ext cx="138945" cy="184662"/>
          </a:xfrm>
          <a:prstGeom prst="rect">
            <a:avLst/>
          </a:prstGeom>
        </p:spPr>
        <p:txBody>
          <a:bodyPr lIns="45718" tIns="45718" rIns="45718" bIns="45718" anchor="b"/>
          <a:lstStyle>
            <a:lvl1pPr algn="r" defTabSz="292100">
              <a:defRPr sz="600" spc="-108">
                <a:solidFill>
                  <a:srgbClr val="424242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31133370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6_Light bg w/ page #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4" name="pasted-image.pdf" descr="pasted-image.pd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752" y="202706"/>
            <a:ext cx="889002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275" name="Shape 147"/>
          <p:cNvSpPr txBox="1"/>
          <p:nvPr/>
        </p:nvSpPr>
        <p:spPr>
          <a:xfrm>
            <a:off x="6160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276" name="Shape 148"/>
          <p:cNvSpPr txBox="1"/>
          <p:nvPr/>
        </p:nvSpPr>
        <p:spPr>
          <a:xfrm>
            <a:off x="628712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solidFill>
                  <a:srgbClr val="424242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277" name="pasted-image.pdf" descr="pasted-image.pd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9812" y="222250"/>
            <a:ext cx="869951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278" name="Shape 151"/>
          <p:cNvSpPr/>
          <p:nvPr/>
        </p:nvSpPr>
        <p:spPr>
          <a:xfrm flipV="1">
            <a:off x="1663163" y="213040"/>
            <a:ext cx="1" cy="154874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27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70687" y="6617191"/>
            <a:ext cx="138945" cy="184662"/>
          </a:xfrm>
          <a:prstGeom prst="rect">
            <a:avLst/>
          </a:prstGeom>
        </p:spPr>
        <p:txBody>
          <a:bodyPr lIns="45718" tIns="45718" rIns="45718" bIns="45718" anchor="b"/>
          <a:lstStyle>
            <a:lvl1pPr algn="r" defTabSz="292100">
              <a:defRPr sz="600" spc="-108">
                <a:solidFill>
                  <a:srgbClr val="424242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74177079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ight bg 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" name="Image" descr="Imag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241" y="202706"/>
            <a:ext cx="889001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287" name="JPMC digital proprietary confidential"/>
          <p:cNvSpPr txBox="1"/>
          <p:nvPr/>
        </p:nvSpPr>
        <p:spPr>
          <a:xfrm>
            <a:off x="190500" y="6515100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288" name="JPMC digital proprietary confidential"/>
          <p:cNvSpPr txBox="1"/>
          <p:nvPr/>
        </p:nvSpPr>
        <p:spPr>
          <a:xfrm>
            <a:off x="203200" y="6515100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solidFill>
                  <a:srgbClr val="424242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289" name="Image" descr="Image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2250"/>
            <a:ext cx="869950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290" name="Line"/>
          <p:cNvSpPr/>
          <p:nvPr/>
        </p:nvSpPr>
        <p:spPr>
          <a:xfrm flipV="1">
            <a:off x="1237650" y="213041"/>
            <a:ext cx="1" cy="140651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291" name="Line"/>
          <p:cNvSpPr/>
          <p:nvPr/>
        </p:nvSpPr>
        <p:spPr>
          <a:xfrm flipV="1">
            <a:off x="2399220" y="213041"/>
            <a:ext cx="1" cy="140651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292" name="Employee Experience"/>
          <p:cNvSpPr txBox="1"/>
          <p:nvPr/>
        </p:nvSpPr>
        <p:spPr>
          <a:xfrm>
            <a:off x="2545871" y="215800"/>
            <a:ext cx="6447062" cy="1619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130000"/>
              </a:lnSpc>
              <a:defRPr sz="1800" spc="-36">
                <a:solidFill>
                  <a:srgbClr val="797979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900"/>
              <a:t>Employee Experience</a:t>
            </a:r>
          </a:p>
        </p:txBody>
      </p:sp>
      <p:sp>
        <p:nvSpPr>
          <p:cNvPr id="29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97679283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7_Light bg w/ page #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0" name="Image" descr="Imag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241" y="202706"/>
            <a:ext cx="889001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301" name="JPMC digital proprietary confidential"/>
          <p:cNvSpPr txBox="1"/>
          <p:nvPr/>
        </p:nvSpPr>
        <p:spPr>
          <a:xfrm>
            <a:off x="190500" y="6515100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302" name="JPMC digital proprietary confidential"/>
          <p:cNvSpPr txBox="1"/>
          <p:nvPr/>
        </p:nvSpPr>
        <p:spPr>
          <a:xfrm>
            <a:off x="203200" y="6515100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solidFill>
                  <a:srgbClr val="424242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303" name="Image" descr="Image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2250"/>
            <a:ext cx="869950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304" name="Line"/>
          <p:cNvSpPr/>
          <p:nvPr/>
        </p:nvSpPr>
        <p:spPr>
          <a:xfrm flipV="1">
            <a:off x="2399220" y="213041"/>
            <a:ext cx="1" cy="140651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305" name="Line"/>
          <p:cNvSpPr/>
          <p:nvPr/>
        </p:nvSpPr>
        <p:spPr>
          <a:xfrm flipV="1">
            <a:off x="1237650" y="213041"/>
            <a:ext cx="1" cy="140651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306" name="Savings"/>
          <p:cNvSpPr txBox="1"/>
          <p:nvPr/>
        </p:nvSpPr>
        <p:spPr>
          <a:xfrm>
            <a:off x="2545871" y="215800"/>
            <a:ext cx="6447062" cy="1619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130000"/>
              </a:lnSpc>
              <a:defRPr sz="1800" spc="-36">
                <a:solidFill>
                  <a:srgbClr val="797979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900"/>
              <a:t>Savings</a:t>
            </a:r>
          </a:p>
        </p:txBody>
      </p:sp>
      <p:sp>
        <p:nvSpPr>
          <p:cNvPr id="30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79151" y="6464300"/>
            <a:ext cx="282130" cy="28725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A2B4A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77517960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Light bg w/ page #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4" name="pasted-image.pdf" descr="pasted-image.pd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241" y="202706"/>
            <a:ext cx="889001" cy="165209"/>
          </a:xfrm>
          <a:prstGeom prst="rect">
            <a:avLst/>
          </a:prstGeom>
          <a:ln w="12700">
            <a:miter lim="400000"/>
          </a:ln>
        </p:spPr>
      </p:pic>
      <p:sp>
        <p:nvSpPr>
          <p:cNvPr id="315" name="Shape 147"/>
          <p:cNvSpPr txBox="1"/>
          <p:nvPr/>
        </p:nvSpPr>
        <p:spPr>
          <a:xfrm>
            <a:off x="190499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316" name="Shape 148"/>
          <p:cNvSpPr txBox="1"/>
          <p:nvPr/>
        </p:nvSpPr>
        <p:spPr>
          <a:xfrm>
            <a:off x="203199" y="6515100"/>
            <a:ext cx="1357231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solidFill>
                  <a:srgbClr val="424242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pic>
        <p:nvPicPr>
          <p:cNvPr id="317" name="pasted-image.pdf" descr="pasted-image.pd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2250"/>
            <a:ext cx="869950" cy="171251"/>
          </a:xfrm>
          <a:prstGeom prst="rect">
            <a:avLst/>
          </a:prstGeom>
          <a:ln w="12700">
            <a:miter lim="400000"/>
          </a:ln>
        </p:spPr>
      </p:pic>
      <p:sp>
        <p:nvSpPr>
          <p:cNvPr id="318" name="Shape 151"/>
          <p:cNvSpPr/>
          <p:nvPr/>
        </p:nvSpPr>
        <p:spPr>
          <a:xfrm flipV="1">
            <a:off x="1237651" y="213040"/>
            <a:ext cx="1" cy="154874"/>
          </a:xfrm>
          <a:prstGeom prst="line">
            <a:avLst/>
          </a:prstGeom>
          <a:ln w="19050">
            <a:solidFill>
              <a:srgbClr val="666666"/>
            </a:solidFill>
            <a:miter lim="400000"/>
          </a:ln>
        </p:spPr>
        <p:txBody>
          <a:bodyPr lIns="22859" tIns="22859" rIns="22859" bIns="22859"/>
          <a:lstStyle/>
          <a:p>
            <a:pPr>
              <a:defRPr>
                <a:solidFill>
                  <a:srgbClr val="91CBFF"/>
                </a:solidFill>
              </a:defRPr>
            </a:pPr>
            <a:endParaRPr sz="900"/>
          </a:p>
        </p:txBody>
      </p:sp>
      <p:sp>
        <p:nvSpPr>
          <p:cNvPr id="319" name="Shape 148"/>
          <p:cNvSpPr txBox="1"/>
          <p:nvPr/>
        </p:nvSpPr>
        <p:spPr>
          <a:xfrm>
            <a:off x="11096647" y="222250"/>
            <a:ext cx="82535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-42">
                <a:solidFill>
                  <a:srgbClr val="424242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700"/>
              <a:t>INTERNAL USE ONLY</a:t>
            </a:r>
          </a:p>
        </p:txBody>
      </p:sp>
      <p:sp>
        <p:nvSpPr>
          <p:cNvPr id="32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70687" y="6617191"/>
            <a:ext cx="138945" cy="184662"/>
          </a:xfrm>
          <a:prstGeom prst="rect">
            <a:avLst/>
          </a:prstGeom>
        </p:spPr>
        <p:txBody>
          <a:bodyPr lIns="45718" tIns="45718" rIns="45718" bIns="45718" anchor="b"/>
          <a:lstStyle>
            <a:lvl1pPr algn="r" defTabSz="292100">
              <a:defRPr sz="600" spc="-108">
                <a:solidFill>
                  <a:srgbClr val="424242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20086811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ark b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63174345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4" name="image5.jpeg" descr="image5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335" name="Image" descr="Image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538" y="200816"/>
            <a:ext cx="888463" cy="1651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36" name="Image" descr="Image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23041"/>
            <a:ext cx="870966" cy="171451"/>
          </a:xfrm>
          <a:prstGeom prst="rect">
            <a:avLst/>
          </a:prstGeom>
          <a:ln w="12700">
            <a:miter lim="400000"/>
          </a:ln>
        </p:spPr>
      </p:pic>
      <p:sp>
        <p:nvSpPr>
          <p:cNvPr id="337" name="Line"/>
          <p:cNvSpPr/>
          <p:nvPr/>
        </p:nvSpPr>
        <p:spPr>
          <a:xfrm flipV="1">
            <a:off x="1237650" y="213042"/>
            <a:ext cx="1" cy="140650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/>
          </a:p>
        </p:txBody>
      </p:sp>
      <p:sp>
        <p:nvSpPr>
          <p:cNvPr id="338" name="Line"/>
          <p:cNvSpPr/>
          <p:nvPr/>
        </p:nvSpPr>
        <p:spPr>
          <a:xfrm flipV="1">
            <a:off x="2401916" y="213042"/>
            <a:ext cx="1" cy="140650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/>
          </a:p>
        </p:txBody>
      </p:sp>
      <p:sp>
        <p:nvSpPr>
          <p:cNvPr id="339" name="JPMC digital proprietary confidential"/>
          <p:cNvSpPr txBox="1"/>
          <p:nvPr/>
        </p:nvSpPr>
        <p:spPr>
          <a:xfrm>
            <a:off x="10616504" y="205934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340" name="Employee experience"/>
          <p:cNvSpPr txBox="1"/>
          <p:nvPr/>
        </p:nvSpPr>
        <p:spPr>
          <a:xfrm>
            <a:off x="2545871" y="178677"/>
            <a:ext cx="1072858" cy="2132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lnSpc>
                <a:spcPct val="130000"/>
              </a:lnSpc>
              <a:defRPr sz="1800" spc="-36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900"/>
              <a:t>Employee experience</a:t>
            </a:r>
          </a:p>
        </p:txBody>
      </p:sp>
      <p:sp>
        <p:nvSpPr>
          <p:cNvPr id="34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96103" y="6470650"/>
            <a:ext cx="290144" cy="287258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19632402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MAIN_POINT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350666" y="1867900"/>
            <a:ext cx="4698401" cy="427201"/>
          </a:xfrm>
          <a:prstGeom prst="rect">
            <a:avLst/>
          </a:prstGeom>
        </p:spPr>
        <p:txBody>
          <a:bodyPr lIns="243799" tIns="243799" rIns="243799" bIns="243799"/>
          <a:lstStyle>
            <a:lvl1pPr defTabSz="1219200">
              <a:defRPr sz="1300" spc="0">
                <a:solidFill>
                  <a:srgbClr val="1155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1pPr>
            <a:lvl2pPr indent="298450" defTabSz="1219200">
              <a:defRPr sz="1300" spc="0">
                <a:solidFill>
                  <a:srgbClr val="1155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2pPr>
            <a:lvl3pPr indent="527050" defTabSz="1219200">
              <a:defRPr sz="1300" spc="0">
                <a:solidFill>
                  <a:srgbClr val="1155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3pPr>
            <a:lvl4pPr indent="755650" defTabSz="1219200">
              <a:defRPr sz="1300" spc="0">
                <a:solidFill>
                  <a:srgbClr val="1155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4pPr>
            <a:lvl5pPr indent="984250" defTabSz="1219200">
              <a:defRPr sz="1300" spc="0">
                <a:solidFill>
                  <a:srgbClr val="1155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63" name="Title Text"/>
          <p:cNvSpPr txBox="1">
            <a:spLocks noGrp="1"/>
          </p:cNvSpPr>
          <p:nvPr>
            <p:ph type="title"/>
          </p:nvPr>
        </p:nvSpPr>
        <p:spPr>
          <a:xfrm>
            <a:off x="1350666" y="2358500"/>
            <a:ext cx="9437601" cy="1084401"/>
          </a:xfrm>
          <a:prstGeom prst="rect">
            <a:avLst/>
          </a:prstGeom>
        </p:spPr>
        <p:txBody>
          <a:bodyPr lIns="243799" tIns="243799" rIns="243799" bIns="243799" anchor="ctr"/>
          <a:lstStyle>
            <a:lvl1pPr algn="l" defTabSz="1219200">
              <a:defRPr sz="6400" spc="0">
                <a:solidFill>
                  <a:srgbClr val="222222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1pPr>
          </a:lstStyle>
          <a:p>
            <a:r>
              <a:t>Title Text</a:t>
            </a:r>
          </a:p>
        </p:txBody>
      </p:sp>
      <p:sp>
        <p:nvSpPr>
          <p:cNvPr id="364" name="Slide Number"/>
          <p:cNvSpPr txBox="1">
            <a:spLocks noGrp="1"/>
          </p:cNvSpPr>
          <p:nvPr>
            <p:ph type="sldNum" sz="quarter" idx="2"/>
          </p:nvPr>
        </p:nvSpPr>
        <p:spPr>
          <a:xfrm rot="16200000">
            <a:off x="-208177" y="3203730"/>
            <a:ext cx="774488" cy="769359"/>
          </a:xfrm>
          <a:prstGeom prst="rect">
            <a:avLst/>
          </a:prstGeom>
        </p:spPr>
        <p:txBody>
          <a:bodyPr lIns="243799" tIns="243799" rIns="243799" bIns="243799" anchor="ctr"/>
          <a:lstStyle>
            <a:lvl1pPr algn="l" defTabSz="1219200">
              <a:defRPr sz="18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65" name="Google Shape;72;p11"/>
          <p:cNvSpPr txBox="1"/>
          <p:nvPr/>
        </p:nvSpPr>
        <p:spPr>
          <a:xfrm>
            <a:off x="4889500" y="6656123"/>
            <a:ext cx="2412801" cy="1231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30500" tIns="30500" rIns="30500" bIns="30500" anchor="ctr">
            <a:spAutoFit/>
          </a:bodyPr>
          <a:lstStyle>
            <a:lvl1pPr algn="ctr" defTabSz="2438400">
              <a:defRPr sz="800" spc="0">
                <a:solidFill>
                  <a:srgbClr val="B7B7B7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400"/>
              <a:t>For internal use only. Not legally approved or cleared for external use.</a:t>
            </a:r>
          </a:p>
        </p:txBody>
      </p:sp>
      <p:pic>
        <p:nvPicPr>
          <p:cNvPr id="366" name="Google Shape;73;p11" descr="Google Shape;73;p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2567" y="160434"/>
            <a:ext cx="339327" cy="190907"/>
          </a:xfrm>
          <a:prstGeom prst="rect">
            <a:avLst/>
          </a:prstGeom>
          <a:ln w="12700">
            <a:miter lim="400000"/>
          </a:ln>
        </p:spPr>
      </p:pic>
      <p:sp>
        <p:nvSpPr>
          <p:cNvPr id="367" name="Google Shape;74;p11"/>
          <p:cNvSpPr txBox="1"/>
          <p:nvPr/>
        </p:nvSpPr>
        <p:spPr>
          <a:xfrm rot="5400000">
            <a:off x="11670647" y="3403027"/>
            <a:ext cx="666401" cy="153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30500" tIns="30500" rIns="30500" bIns="30500" anchor="ctr">
            <a:spAutoFit/>
          </a:bodyPr>
          <a:lstStyle>
            <a:lvl1pPr algn="ctr" defTabSz="2438400">
              <a:defRPr sz="1200" spc="0">
                <a:solidFill>
                  <a:srgbClr val="B7B7B7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600"/>
              <a:t>D R O G A 5 </a:t>
            </a:r>
          </a:p>
        </p:txBody>
      </p:sp>
    </p:spTree>
    <p:extLst>
      <p:ext uri="{BB962C8B-B14F-4D97-AF65-F5344CB8AC3E}">
        <p14:creationId xmlns:p14="http://schemas.microsoft.com/office/powerpoint/2010/main" val="3132217417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_AND_TWO_COLUMN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1187133" y="2361533"/>
            <a:ext cx="4561601" cy="3730401"/>
          </a:xfrm>
          <a:prstGeom prst="rect">
            <a:avLst/>
          </a:prstGeom>
        </p:spPr>
        <p:txBody>
          <a:bodyPr lIns="243799" tIns="243799" rIns="243799" bIns="243799"/>
          <a:lstStyle>
            <a:lvl1pPr marL="462280" indent="-379730" defTabSz="1219200">
              <a:lnSpc>
                <a:spcPct val="115000"/>
              </a:lnSpc>
              <a:buClr>
                <a:srgbClr val="000000"/>
              </a:buClr>
              <a:buSzPts val="2600"/>
              <a:buFont typeface="Open Sans Regular"/>
              <a:buChar char="●"/>
              <a:defRPr sz="1300" spc="0">
                <a:solidFill>
                  <a:srgbClr val="000000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  <a:lvl2pPr marL="690880" indent="-379730" defTabSz="1219200">
              <a:lnSpc>
                <a:spcPct val="115000"/>
              </a:lnSpc>
              <a:buClr>
                <a:srgbClr val="000000"/>
              </a:buClr>
              <a:buSzPts val="2600"/>
              <a:buFont typeface="Open Sans Regular"/>
              <a:buChar char="○"/>
              <a:defRPr sz="1300" spc="0">
                <a:solidFill>
                  <a:srgbClr val="000000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2pPr>
            <a:lvl3pPr marL="919480" indent="-379730" defTabSz="1219200">
              <a:lnSpc>
                <a:spcPct val="115000"/>
              </a:lnSpc>
              <a:buClr>
                <a:srgbClr val="000000"/>
              </a:buClr>
              <a:buSzPts val="2600"/>
              <a:buFont typeface="Open Sans Regular"/>
              <a:buChar char="■"/>
              <a:defRPr sz="1300" spc="0">
                <a:solidFill>
                  <a:srgbClr val="000000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3pPr>
            <a:lvl4pPr marL="1148080" indent="-379730" defTabSz="1219200">
              <a:lnSpc>
                <a:spcPct val="115000"/>
              </a:lnSpc>
              <a:buClr>
                <a:srgbClr val="000000"/>
              </a:buClr>
              <a:buSzPts val="2600"/>
              <a:buFont typeface="Open Sans Regular"/>
              <a:buChar char="●"/>
              <a:defRPr sz="1300" spc="0">
                <a:solidFill>
                  <a:srgbClr val="000000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4pPr>
            <a:lvl5pPr marL="1376680" indent="-379730" defTabSz="1219200">
              <a:lnSpc>
                <a:spcPct val="115000"/>
              </a:lnSpc>
              <a:buClr>
                <a:srgbClr val="000000"/>
              </a:buClr>
              <a:buSzPts val="2600"/>
              <a:buFont typeface="Open Sans Regular"/>
              <a:buChar char="○"/>
              <a:defRPr sz="1300" spc="0">
                <a:solidFill>
                  <a:srgbClr val="000000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75" name="Google Shape;27;p5"/>
          <p:cNvSpPr txBox="1">
            <a:spLocks noGrp="1"/>
          </p:cNvSpPr>
          <p:nvPr>
            <p:ph type="body" sz="half" idx="13"/>
          </p:nvPr>
        </p:nvSpPr>
        <p:spPr>
          <a:xfrm>
            <a:off x="6443200" y="2284767"/>
            <a:ext cx="5333201" cy="3807201"/>
          </a:xfrm>
          <a:prstGeom prst="rect">
            <a:avLst/>
          </a:prstGeom>
        </p:spPr>
        <p:txBody>
          <a:bodyPr lIns="243799" tIns="243799" rIns="243799" bIns="243799"/>
          <a:lstStyle>
            <a:lvl1pPr marL="462280" indent="-379730" defTabSz="1219200">
              <a:lnSpc>
                <a:spcPct val="115000"/>
              </a:lnSpc>
              <a:buClr>
                <a:srgbClr val="000000"/>
              </a:buClr>
              <a:buSzPts val="2600"/>
              <a:buFont typeface="Open Sans Regular"/>
              <a:buChar char="●"/>
              <a:defRPr sz="2600" spc="0">
                <a:solidFill>
                  <a:srgbClr val="000000"/>
                </a:solidFill>
                <a:latin typeface="Open Sans Regular"/>
                <a:sym typeface="Open Sans Regular"/>
              </a:defRPr>
            </a:lvl1pPr>
          </a:lstStyle>
          <a:p>
            <a:pPr marL="924560" indent="-759460" defTabSz="2438400">
              <a:lnSpc>
                <a:spcPct val="115000"/>
              </a:lnSpc>
              <a:buClr>
                <a:srgbClr val="000000"/>
              </a:buClr>
              <a:buSzPts val="2600"/>
              <a:buFont typeface="Open Sans Regular"/>
              <a:buChar char="●"/>
              <a:defRPr sz="2600" spc="0">
                <a:solidFill>
                  <a:srgbClr val="000000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pPr>
            <a:endParaRPr/>
          </a:p>
        </p:txBody>
      </p:sp>
      <p:sp>
        <p:nvSpPr>
          <p:cNvPr id="376" name="Slide Number"/>
          <p:cNvSpPr txBox="1">
            <a:spLocks noGrp="1"/>
          </p:cNvSpPr>
          <p:nvPr>
            <p:ph type="sldNum" sz="quarter" idx="2"/>
          </p:nvPr>
        </p:nvSpPr>
        <p:spPr>
          <a:xfrm rot="16200000">
            <a:off x="-208177" y="3203730"/>
            <a:ext cx="774488" cy="769359"/>
          </a:xfrm>
          <a:prstGeom prst="rect">
            <a:avLst/>
          </a:prstGeom>
        </p:spPr>
        <p:txBody>
          <a:bodyPr lIns="243799" tIns="243799" rIns="243799" bIns="243799" anchor="ctr"/>
          <a:lstStyle>
            <a:lvl1pPr algn="l" defTabSz="1219200">
              <a:defRPr sz="18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77" name="Google Shape;29;p5"/>
          <p:cNvSpPr txBox="1"/>
          <p:nvPr/>
        </p:nvSpPr>
        <p:spPr>
          <a:xfrm>
            <a:off x="4889500" y="6656123"/>
            <a:ext cx="2412801" cy="1231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30500" tIns="30500" rIns="30500" bIns="30500" anchor="ctr">
            <a:spAutoFit/>
          </a:bodyPr>
          <a:lstStyle>
            <a:lvl1pPr algn="ctr" defTabSz="2438400">
              <a:defRPr sz="800" spc="0">
                <a:solidFill>
                  <a:srgbClr val="B7B7B7"/>
                </a:solidFill>
                <a:latin typeface="Open Sans Regular"/>
                <a:ea typeface="Open Sans Regular"/>
                <a:cs typeface="Open Sans Regular"/>
                <a:sym typeface="Open Sans Regular"/>
              </a:defRPr>
            </a:lvl1pPr>
          </a:lstStyle>
          <a:p>
            <a:r>
              <a:rPr sz="400"/>
              <a:t>For internal use only. Not legally approved or cleared for external use.</a:t>
            </a:r>
          </a:p>
        </p:txBody>
      </p:sp>
      <p:pic>
        <p:nvPicPr>
          <p:cNvPr id="378" name="Google Shape;30;p5" descr="Google Shape;30;p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2567" y="160434"/>
            <a:ext cx="339327" cy="190907"/>
          </a:xfrm>
          <a:prstGeom prst="rect">
            <a:avLst/>
          </a:prstGeom>
          <a:ln w="12700">
            <a:miter lim="400000"/>
          </a:ln>
        </p:spPr>
      </p:pic>
      <p:sp>
        <p:nvSpPr>
          <p:cNvPr id="379" name="Title Text"/>
          <p:cNvSpPr txBox="1">
            <a:spLocks noGrp="1"/>
          </p:cNvSpPr>
          <p:nvPr>
            <p:ph type="title"/>
          </p:nvPr>
        </p:nvSpPr>
        <p:spPr>
          <a:xfrm>
            <a:off x="1219200" y="1880766"/>
            <a:ext cx="5269601" cy="404001"/>
          </a:xfrm>
          <a:prstGeom prst="rect">
            <a:avLst/>
          </a:prstGeom>
        </p:spPr>
        <p:txBody>
          <a:bodyPr lIns="243799" tIns="243799" rIns="243799" bIns="243799" anchor="t"/>
          <a:lstStyle>
            <a:lvl1pPr algn="l" defTabSz="1219200">
              <a:defRPr sz="1300" spc="0">
                <a:solidFill>
                  <a:srgbClr val="1155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1pPr>
          </a:lstStyle>
          <a:p>
            <a:r>
              <a:t>Title Text</a:t>
            </a:r>
          </a:p>
        </p:txBody>
      </p:sp>
    </p:spTree>
    <p:extLst>
      <p:ext uri="{BB962C8B-B14F-4D97-AF65-F5344CB8AC3E}">
        <p14:creationId xmlns:p14="http://schemas.microsoft.com/office/powerpoint/2010/main" val="1088939686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859280"/>
            <a:ext cx="5189220" cy="395478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6431280" y="1859280"/>
            <a:ext cx="5189220" cy="395478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ageSubtitle"/>
          <p:cNvSpPr>
            <a:spLocks noGrp="1"/>
          </p:cNvSpPr>
          <p:nvPr>
            <p:ph type="subTitle" sz="quarter" idx="12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6" name="Picture 5" descr="cidimage003.png@01D7C45B.8A5C6CE0">
            <a:extLst>
              <a:ext uri="{FF2B5EF4-FFF2-40B4-BE49-F238E27FC236}">
                <a16:creationId xmlns:a16="http://schemas.microsoft.com/office/drawing/2014/main" id="{D9768F74-4D4A-40F3-96BA-D03EFC9CCCE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46407" y="6122618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720761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e Left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859280"/>
            <a:ext cx="5189220" cy="395478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6431280" y="185928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/>
          <p:cNvSpPr>
            <a:spLocks noGrp="1"/>
          </p:cNvSpPr>
          <p:nvPr>
            <p:ph sz="quarter" idx="12"/>
          </p:nvPr>
        </p:nvSpPr>
        <p:spPr>
          <a:xfrm>
            <a:off x="6431280" y="407670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ageSubtitle"/>
          <p:cNvSpPr>
            <a:spLocks noGrp="1"/>
          </p:cNvSpPr>
          <p:nvPr>
            <p:ph type="subTitle" sz="quarter" idx="13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7" name="Picture 6" descr="cidimage003.png@01D7C45B.8A5C6CE0">
            <a:extLst>
              <a:ext uri="{FF2B5EF4-FFF2-40B4-BE49-F238E27FC236}">
                <a16:creationId xmlns:a16="http://schemas.microsoft.com/office/drawing/2014/main" id="{277B4640-BA01-4A37-AE11-A3BDB81A204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46407" y="6122618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89401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wo Left On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85928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579120" y="407670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/>
          <p:cNvSpPr>
            <a:spLocks noGrp="1"/>
          </p:cNvSpPr>
          <p:nvPr>
            <p:ph sz="quarter" idx="12"/>
          </p:nvPr>
        </p:nvSpPr>
        <p:spPr>
          <a:xfrm>
            <a:off x="6431280" y="1859280"/>
            <a:ext cx="5189220" cy="395478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ageSubtitle"/>
          <p:cNvSpPr>
            <a:spLocks noGrp="1"/>
          </p:cNvSpPr>
          <p:nvPr>
            <p:ph type="subTitle" sz="quarter" idx="13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7" name="Picture 6" descr="cidimage003.png@01D7C45B.8A5C6CE0">
            <a:extLst>
              <a:ext uri="{FF2B5EF4-FFF2-40B4-BE49-F238E27FC236}">
                <a16:creationId xmlns:a16="http://schemas.microsoft.com/office/drawing/2014/main" id="{E5062847-A63D-40E3-BCA5-9EE69C3C679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46407" y="6122618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06886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85928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579120" y="407670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/>
          <p:cNvSpPr>
            <a:spLocks noGrp="1"/>
          </p:cNvSpPr>
          <p:nvPr>
            <p:ph sz="quarter" idx="12"/>
          </p:nvPr>
        </p:nvSpPr>
        <p:spPr>
          <a:xfrm>
            <a:off x="6431280" y="185928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4"/>
          <p:cNvSpPr>
            <a:spLocks noGrp="1"/>
          </p:cNvSpPr>
          <p:nvPr>
            <p:ph sz="quarter" idx="13"/>
          </p:nvPr>
        </p:nvSpPr>
        <p:spPr>
          <a:xfrm>
            <a:off x="6431280" y="4076700"/>
            <a:ext cx="518922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ageSubtitle"/>
          <p:cNvSpPr>
            <a:spLocks noGrp="1"/>
          </p:cNvSpPr>
          <p:nvPr>
            <p:ph type="subTitle" sz="quarter" idx="14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8" name="Picture 7" descr="cidimage003.png@01D7C45B.8A5C6CE0">
            <a:extLst>
              <a:ext uri="{FF2B5EF4-FFF2-40B4-BE49-F238E27FC236}">
                <a16:creationId xmlns:a16="http://schemas.microsoft.com/office/drawing/2014/main" id="{E50C675D-62DB-4915-8379-6569C214BAA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46407" y="6122618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766760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e Top On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1"/>
          <p:cNvSpPr>
            <a:spLocks noGrp="1"/>
          </p:cNvSpPr>
          <p:nvPr>
            <p:ph idx="10"/>
          </p:nvPr>
        </p:nvSpPr>
        <p:spPr>
          <a:xfrm>
            <a:off x="579120" y="1859280"/>
            <a:ext cx="1104138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/>
          <p:cNvSpPr>
            <a:spLocks noGrp="1"/>
          </p:cNvSpPr>
          <p:nvPr>
            <p:ph sz="quarter" idx="11"/>
          </p:nvPr>
        </p:nvSpPr>
        <p:spPr>
          <a:xfrm>
            <a:off x="579120" y="4076700"/>
            <a:ext cx="11041380" cy="1737360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2pPr>
            <a:lvl3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3pPr>
            <a:lvl4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4pPr>
            <a:lvl5pPr>
              <a:defRPr sz="100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ageSubtitle"/>
          <p:cNvSpPr>
            <a:spLocks noGrp="1"/>
          </p:cNvSpPr>
          <p:nvPr>
            <p:ph type="subTitle" sz="quarter" idx="12" hasCustomPrompt="1"/>
          </p:nvPr>
        </p:nvSpPr>
        <p:spPr>
          <a:xfrm>
            <a:off x="579120" y="1173480"/>
            <a:ext cx="11041380" cy="320040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833"/>
              </a:spcBef>
              <a:buFontTx/>
              <a:buNone/>
              <a:defRPr sz="1250" b="0" i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380985" indent="0" algn="ctr">
              <a:buNone/>
            </a:lvl2pPr>
            <a:lvl3pPr marL="761970" indent="0" algn="ctr">
              <a:buNone/>
            </a:lvl3pPr>
            <a:lvl4pPr marL="1142954" indent="0" algn="ctr">
              <a:buNone/>
            </a:lvl4pPr>
            <a:lvl5pPr marL="1523939" indent="0" algn="ctr">
              <a:buNone/>
            </a:lvl5pPr>
            <a:lvl6pPr marL="1904924" indent="0" algn="ctr">
              <a:buNone/>
            </a:lvl6pPr>
            <a:lvl7pPr marL="2285909" indent="0" algn="ctr">
              <a:buNone/>
            </a:lvl7pPr>
            <a:lvl8pPr marL="2666893" indent="0" algn="ctr">
              <a:buNone/>
            </a:lvl8pPr>
            <a:lvl9pPr marL="3047878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pic>
        <p:nvPicPr>
          <p:cNvPr id="6" name="Picture 5" descr="cidimage003.png@01D7C45B.8A5C6CE0">
            <a:extLst>
              <a:ext uri="{FF2B5EF4-FFF2-40B4-BE49-F238E27FC236}">
                <a16:creationId xmlns:a16="http://schemas.microsoft.com/office/drawing/2014/main" id="{2DB04CFE-688B-433C-9B9C-A86E571209B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8"/>
          <a:stretch/>
        </p:blipFill>
        <p:spPr bwMode="auto">
          <a:xfrm>
            <a:off x="9346407" y="6122618"/>
            <a:ext cx="100204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59737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37" Type="http://schemas.openxmlformats.org/officeDocument/2006/relationships/image" Target="../media/image2.tmp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1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image" Target="../media/image7.png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image" Target="../media/image6.png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EC21AF-CF2A-470A-B4EF-5BEF7F12D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438843946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286" imgH="286" progId="TCLayout.ActiveDocument.1">
                  <p:embed/>
                </p:oleObj>
              </mc:Choice>
              <mc:Fallback>
                <p:oleObj name="think-cell Slide" r:id="rId35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EC21AF-CF2A-470A-B4EF-5BEF7F12D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ceholderTitle"/>
          <p:cNvSpPr>
            <a:spLocks noGrp="1"/>
          </p:cNvSpPr>
          <p:nvPr>
            <p:ph type="title"/>
          </p:nvPr>
        </p:nvSpPr>
        <p:spPr>
          <a:xfrm>
            <a:off x="579120" y="403860"/>
            <a:ext cx="11041380" cy="601980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ConfidentialInternal"/>
          <p:cNvSpPr txBox="1"/>
          <p:nvPr userDrawn="1">
            <p:custDataLst>
              <p:tags r:id="rId31"/>
            </p:custDataLst>
          </p:nvPr>
        </p:nvSpPr>
        <p:spPr>
          <a:xfrm>
            <a:off x="2918460" y="213358"/>
            <a:ext cx="8702040" cy="1905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</a:pPr>
            <a:r>
              <a:rPr lang="en-GB" sz="750" b="0" i="0" cap="all" spc="175" dirty="0">
                <a:solidFill>
                  <a:schemeClr val="tx2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JPMC INTERNAL USE ONLY–Confidential</a:t>
            </a:r>
          </a:p>
        </p:txBody>
      </p:sp>
      <p:sp>
        <p:nvSpPr>
          <p:cNvPr id="6" name="Confidential" hidden="1"/>
          <p:cNvSpPr txBox="1"/>
          <p:nvPr userDrawn="1">
            <p:custDataLst>
              <p:tags r:id="rId32"/>
            </p:custDataLst>
          </p:nvPr>
        </p:nvSpPr>
        <p:spPr>
          <a:xfrm>
            <a:off x="2918460" y="220980"/>
            <a:ext cx="8702040" cy="170303"/>
          </a:xfrm>
          <a:prstGeom prst="rect">
            <a:avLst/>
          </a:prstGeom>
          <a:noFill/>
        </p:spPr>
        <p:txBody>
          <a:bodyPr vert="horz" wrap="square" lIns="0" tIns="38100" rIns="0" bIns="38100" rtlCol="0" anchor="t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GB" sz="583" b="0" i="0" cap="all" spc="175" dirty="0">
                <a:solidFill>
                  <a:schemeClr val="tx2"/>
                </a:solidFill>
                <a:latin typeface="Open Sans Light" panose="020B0606030504020204" pitchFamily="34" charset="0"/>
              </a:rPr>
              <a:t>Confidential</a:t>
            </a:r>
          </a:p>
        </p:txBody>
      </p:sp>
      <p:sp>
        <p:nvSpPr>
          <p:cNvPr id="7" name="SubsectionTracker"/>
          <p:cNvSpPr txBox="1"/>
          <p:nvPr userDrawn="1"/>
        </p:nvSpPr>
        <p:spPr>
          <a:xfrm>
            <a:off x="579121" y="385277"/>
            <a:ext cx="65" cy="113364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l">
              <a:lnSpc>
                <a:spcPct val="110000"/>
              </a:lnSpc>
            </a:pPr>
            <a:endParaRPr lang="en-GB" sz="708" b="0" i="0" dirty="0">
              <a:solidFill>
                <a:schemeClr val="bg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8" name="PageNumber"/>
          <p:cNvSpPr txBox="1"/>
          <p:nvPr userDrawn="1"/>
        </p:nvSpPr>
        <p:spPr>
          <a:xfrm>
            <a:off x="5958840" y="6256020"/>
            <a:ext cx="274320" cy="160020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GB" sz="833" b="0" i="0" dirty="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0" name="ClientName"/>
          <p:cNvSpPr txBox="1"/>
          <p:nvPr userDrawn="1">
            <p:custDataLst>
              <p:tags r:id="rId33"/>
            </p:custDataLst>
          </p:nvPr>
        </p:nvSpPr>
        <p:spPr>
          <a:xfrm>
            <a:off x="579120" y="6370320"/>
            <a:ext cx="2217420" cy="106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/>
          <a:p>
            <a:pPr algn="l">
              <a:lnSpc>
                <a:spcPct val="110000"/>
              </a:lnSpc>
            </a:pPr>
            <a:endParaRPr lang="en-GB" sz="750" b="0" i="0" cap="all" spc="125" dirty="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6000750" y="6316980"/>
            <a:ext cx="190500" cy="1524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110000"/>
              </a:lnSpc>
            </a:pPr>
            <a:fld id="{AD408CE9-3B3D-493B-A7C2-A936973F40F6}" type="slidenum">
              <a:rPr kumimoji="0" lang="en-GB" sz="917" b="0" i="0" u="none" baseline="0" smtClean="0">
                <a:solidFill>
                  <a:schemeClr val="tx2"/>
                </a:solidFill>
                <a:latin typeface="Arial" panose="020B0604020202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pPr algn="ctr">
                <a:lnSpc>
                  <a:spcPct val="110000"/>
                </a:lnSpc>
              </a:pPr>
              <a:t>‹#›</a:t>
            </a:fld>
            <a:endParaRPr kumimoji="0" lang="en-GB" sz="917" b="0" i="0" u="none" baseline="0" dirty="0">
              <a:solidFill>
                <a:schemeClr val="tx2"/>
              </a:solidFill>
              <a:latin typeface="Arial" panose="020B0604020202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3EB80D-50C2-401E-86F1-DAB06D99508B}"/>
              </a:ext>
            </a:extLst>
          </p:cNvPr>
          <p:cNvSpPr>
            <a:spLocks noChangeAspect="1"/>
          </p:cNvSpPr>
          <p:nvPr userDrawn="1">
            <p:custDataLst>
              <p:tags r:id="rId34"/>
            </p:custDataLst>
          </p:nvPr>
        </p:nvSpPr>
        <p:spPr>
          <a:xfrm>
            <a:off x="10514228" y="6202680"/>
            <a:ext cx="1098652" cy="203683"/>
          </a:xfrm>
          <a:prstGeom prst="rect">
            <a:avLst/>
          </a:prstGeom>
          <a:blipFill>
            <a:blip r:embed="rId37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0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en-US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012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</p:sldLayoutIdLst>
  <p:hf sldNum="0" hdr="0" ftr="0" dt="0"/>
  <p:txStyles>
    <p:titleStyle>
      <a:lvl1pPr algn="l" defTabSz="761970" rtl="0" eaLnBrk="1" latinLnBrk="0" hangingPunct="1">
        <a:spcBef>
          <a:spcPct val="0"/>
        </a:spcBef>
        <a:buFontTx/>
        <a:buNone/>
        <a:defRPr sz="2333" b="0" i="0" kern="1200">
          <a:solidFill>
            <a:schemeClr val="bg2"/>
          </a:solidFill>
          <a:latin typeface="Open Sans Extrabold" panose="020B0906030804020204" pitchFamily="34" charset="0"/>
          <a:ea typeface="Open Sans Extrabold" panose="020B0906030804020204" pitchFamily="34" charset="0"/>
          <a:cs typeface="Open Sans Extrabold" panose="020B0906030804020204" pitchFamily="34" charset="0"/>
        </a:defRPr>
      </a:lvl1pPr>
    </p:titleStyle>
    <p:bodyStyle>
      <a:lvl1pPr marL="8466" indent="-5821" algn="l" defTabSz="761970" rtl="0" eaLnBrk="1" latinLnBrk="0" hangingPunct="1">
        <a:lnSpc>
          <a:spcPct val="110000"/>
        </a:lnSpc>
        <a:spcBef>
          <a:spcPts val="758"/>
        </a:spcBef>
        <a:spcAft>
          <a:spcPct val="0"/>
        </a:spcAft>
        <a:buFontTx/>
        <a:buNone/>
        <a:defRPr sz="1000" b="0" i="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1pPr>
      <a:lvl2pPr marL="175253" indent="-152394" algn="l" defTabSz="761970" rtl="0" eaLnBrk="1" latinLnBrk="0" hangingPunct="1">
        <a:lnSpc>
          <a:spcPct val="110000"/>
        </a:lnSpc>
        <a:spcBef>
          <a:spcPts val="500"/>
        </a:spcBef>
        <a:spcAft>
          <a:spcPct val="0"/>
        </a:spcAft>
        <a:buClr>
          <a:schemeClr val="bg2"/>
        </a:buClr>
        <a:buSzPct val="92000"/>
        <a:buFont typeface="Wingdings" panose="05000000000000000000" pitchFamily="2" charset="2"/>
        <a:buChar char="n"/>
        <a:defRPr sz="1000" b="0" i="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2pPr>
      <a:lvl3pPr marL="320027" indent="-175253" algn="l" defTabSz="761970" rtl="0" eaLnBrk="1" latinLnBrk="0" hangingPunct="1">
        <a:lnSpc>
          <a:spcPct val="110000"/>
        </a:lnSpc>
        <a:spcBef>
          <a:spcPts val="250"/>
        </a:spcBef>
        <a:spcAft>
          <a:spcPct val="0"/>
        </a:spcAft>
        <a:buClr>
          <a:schemeClr val="tx2"/>
        </a:buClr>
        <a:buSzPct val="92000"/>
        <a:buFont typeface="Wingdings" panose="05000000000000000000" pitchFamily="2" charset="2"/>
        <a:buChar char="n"/>
        <a:defRPr sz="1000" b="0" i="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3pPr>
      <a:lvl4pPr marL="464801" indent="-182873" algn="l" defTabSz="761970" rtl="0" eaLnBrk="1" latinLnBrk="0" hangingPunct="1">
        <a:lnSpc>
          <a:spcPct val="110000"/>
        </a:lnSpc>
        <a:spcBef>
          <a:spcPts val="83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000" b="0" i="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4pPr>
      <a:lvl5pPr marL="609576" indent="-190492" algn="l" defTabSz="761970" rtl="0" eaLnBrk="1" latinLnBrk="0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000" b="0" i="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5pPr>
      <a:lvl6pPr marL="2095416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0160" indent="-7514" algn="l" defTabSz="761970" rtl="0" eaLnBrk="1" fontAlgn="b" latinLnBrk="0" hangingPunct="1">
        <a:lnSpc>
          <a:spcPct val="100000"/>
        </a:lnSpc>
        <a:spcBef>
          <a:spcPts val="221"/>
        </a:spcBef>
        <a:spcAft>
          <a:spcPct val="0"/>
        </a:spcAft>
        <a:buFontTx/>
        <a:buNone/>
        <a:defRPr sz="750" b="0" i="0" kern="1200">
          <a:solidFill>
            <a:schemeClr val="tx2"/>
          </a:solidFill>
          <a:latin typeface="Arial"/>
          <a:ea typeface="Arial Unicode MS"/>
          <a:cs typeface="+mn-cs"/>
        </a:defRPr>
      </a:lvl1pPr>
      <a:lvl2pPr marL="175253" indent="-175253" algn="l" defTabSz="761970" rtl="0" eaLnBrk="1" fontAlgn="b" latinLnBrk="0" hangingPunct="1">
        <a:lnSpc>
          <a:spcPct val="100000"/>
        </a:lnSpc>
        <a:spcBef>
          <a:spcPts val="221"/>
        </a:spcBef>
        <a:spcAft>
          <a:spcPct val="0"/>
        </a:spcAft>
        <a:buClr>
          <a:schemeClr val="bg2"/>
        </a:buClr>
        <a:buSzPct val="92000"/>
        <a:buFont typeface="Wingdings"/>
        <a:buChar char="n"/>
        <a:defRPr sz="750" b="0" i="0" kern="1200">
          <a:solidFill>
            <a:schemeClr val="tx2"/>
          </a:solidFill>
          <a:latin typeface="Arial"/>
          <a:ea typeface="Arial Unicode MS"/>
          <a:cs typeface="+mn-cs"/>
        </a:defRPr>
      </a:lvl2pPr>
      <a:lvl3pPr marL="350506" indent="-175253" algn="l" defTabSz="761970" rtl="0" eaLnBrk="1" fontAlgn="b" latinLnBrk="0" hangingPunct="1">
        <a:lnSpc>
          <a:spcPct val="100000"/>
        </a:lnSpc>
        <a:spcBef>
          <a:spcPts val="221"/>
        </a:spcBef>
        <a:spcAft>
          <a:spcPct val="0"/>
        </a:spcAft>
        <a:buClr>
          <a:schemeClr val="tx2"/>
        </a:buClr>
        <a:buSzPct val="92000"/>
        <a:buFont typeface="Wingdings"/>
        <a:buChar char="n"/>
        <a:defRPr sz="750" b="0" i="0" kern="1200">
          <a:solidFill>
            <a:schemeClr val="tx2"/>
          </a:solidFill>
          <a:latin typeface="Arial"/>
          <a:ea typeface="Arial Unicode MS"/>
          <a:cs typeface="+mn-cs"/>
        </a:defRPr>
      </a:lvl3pPr>
      <a:lvl4pPr marL="540998" indent="-190492" algn="l" defTabSz="761970" rtl="0" eaLnBrk="1" fontAlgn="b" latinLnBrk="0" hangingPunct="1">
        <a:lnSpc>
          <a:spcPct val="100000"/>
        </a:lnSpc>
        <a:spcBef>
          <a:spcPts val="221"/>
        </a:spcBef>
        <a:spcAft>
          <a:spcPct val="0"/>
        </a:spcAft>
        <a:buClr>
          <a:schemeClr val="tx2"/>
        </a:buClr>
        <a:buSzPct val="100000"/>
        <a:buFont typeface="Arial"/>
        <a:buChar char="–"/>
        <a:defRPr sz="750" b="0" i="0" kern="1200">
          <a:solidFill>
            <a:schemeClr val="tx2"/>
          </a:solidFill>
          <a:latin typeface="Arial"/>
          <a:ea typeface="Arial Unicode MS"/>
          <a:cs typeface="+mn-cs"/>
        </a:defRPr>
      </a:lvl4pPr>
      <a:lvl5pPr marL="731491" indent="-190492" algn="l" defTabSz="761970" rtl="0" eaLnBrk="1" fontAlgn="b" latinLnBrk="0" hangingPunct="1">
        <a:lnSpc>
          <a:spcPct val="100000"/>
        </a:lnSpc>
        <a:spcBef>
          <a:spcPts val="221"/>
        </a:spcBef>
        <a:spcAft>
          <a:spcPct val="0"/>
        </a:spcAft>
        <a:buClr>
          <a:schemeClr val="tx2"/>
        </a:buClr>
        <a:buSzPct val="100000"/>
        <a:buFont typeface="Arial"/>
        <a:buChar char="–"/>
        <a:defRPr sz="750" b="0" i="0" kern="1200">
          <a:solidFill>
            <a:schemeClr val="tx2"/>
          </a:solidFill>
          <a:latin typeface="Arial"/>
          <a:ea typeface="Arial Unicode MS"/>
          <a:cs typeface="+mn-cs"/>
        </a:defRPr>
      </a:lvl5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22A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 descr="Image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538" y="213132"/>
            <a:ext cx="888463" cy="1651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Image" descr="Image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0" y="235357"/>
            <a:ext cx="870966" cy="171451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Line"/>
          <p:cNvSpPr/>
          <p:nvPr/>
        </p:nvSpPr>
        <p:spPr>
          <a:xfrm flipV="1">
            <a:off x="1237650" y="225358"/>
            <a:ext cx="1" cy="140650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/>
          </a:p>
        </p:txBody>
      </p:sp>
      <p:sp>
        <p:nvSpPr>
          <p:cNvPr id="5" name="JPMC digital proprietary confidential"/>
          <p:cNvSpPr txBox="1"/>
          <p:nvPr/>
        </p:nvSpPr>
        <p:spPr>
          <a:xfrm>
            <a:off x="10616504" y="218250"/>
            <a:ext cx="1485984" cy="1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>
            <a:lvl1pPr>
              <a:defRPr sz="1400" spc="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700"/>
              <a:t>JPMC digital proprietary confidential</a:t>
            </a:r>
          </a:p>
        </p:txBody>
      </p:sp>
      <p:sp>
        <p:nvSpPr>
          <p:cNvPr id="6" name="Employee experience"/>
          <p:cNvSpPr txBox="1"/>
          <p:nvPr/>
        </p:nvSpPr>
        <p:spPr>
          <a:xfrm>
            <a:off x="2545871" y="190993"/>
            <a:ext cx="1072858" cy="2132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lnSpc>
                <a:spcPct val="130000"/>
              </a:lnSpc>
              <a:defRPr sz="1800" spc="-36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sz="900"/>
              <a:t>Employee experience</a:t>
            </a:r>
          </a:p>
        </p:txBody>
      </p:sp>
      <p:sp>
        <p:nvSpPr>
          <p:cNvPr id="7" name="Line"/>
          <p:cNvSpPr/>
          <p:nvPr/>
        </p:nvSpPr>
        <p:spPr>
          <a:xfrm flipV="1">
            <a:off x="2401916" y="225358"/>
            <a:ext cx="1" cy="140650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/>
          </a:p>
        </p:txBody>
      </p:sp>
      <p:sp>
        <p:nvSpPr>
          <p:cNvPr id="8" name="Title Text"/>
          <p:cNvSpPr txBox="1">
            <a:spLocks noGrp="1"/>
          </p:cNvSpPr>
          <p:nvPr>
            <p:ph type="title"/>
          </p:nvPr>
        </p:nvSpPr>
        <p:spPr>
          <a:xfrm>
            <a:off x="-2330450" y="4229100"/>
            <a:ext cx="10414000" cy="23241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itle Text</a:t>
            </a:r>
          </a:p>
        </p:txBody>
      </p:sp>
      <p:sp>
        <p:nvSpPr>
          <p:cNvPr id="9" name="Body Level One…"/>
          <p:cNvSpPr txBox="1">
            <a:spLocks noGrp="1"/>
          </p:cNvSpPr>
          <p:nvPr>
            <p:ph type="body" idx="1"/>
          </p:nvPr>
        </p:nvSpPr>
        <p:spPr>
          <a:xfrm>
            <a:off x="889000" y="3536950"/>
            <a:ext cx="10414000" cy="7937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10289" y="6394450"/>
            <a:ext cx="306174" cy="287258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 algn="ctr" defTabSz="412750">
              <a:defRPr sz="1200" spc="0"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5187978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</p:sldLayoutIdLst>
  <p:transition spd="med"/>
  <p:hf sldNum="0" hdr="0" ftr="0" dt="0"/>
  <p:txStyles>
    <p:titleStyle>
      <a:lvl1pPr marL="0" marR="0" indent="0" algn="ctr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-200" baseline="0">
          <a:solidFill>
            <a:srgbClr val="2E68FB"/>
          </a:solidFill>
          <a:uFillTx/>
          <a:latin typeface="Open Sans Light"/>
          <a:ea typeface="Open Sans Light"/>
          <a:cs typeface="Open Sans Light"/>
          <a:sym typeface="Open Sans Light"/>
        </a:defRPr>
      </a:lvl1pPr>
      <a:lvl2pPr marL="0" marR="0" indent="114300" algn="ctr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-200" baseline="0">
          <a:solidFill>
            <a:srgbClr val="2E68FB"/>
          </a:solidFill>
          <a:uFillTx/>
          <a:latin typeface="Open Sans Light"/>
          <a:ea typeface="Open Sans Light"/>
          <a:cs typeface="Open Sans Light"/>
          <a:sym typeface="Open Sans Light"/>
        </a:defRPr>
      </a:lvl2pPr>
      <a:lvl3pPr marL="0" marR="0" indent="228600" algn="ctr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-200" baseline="0">
          <a:solidFill>
            <a:srgbClr val="2E68FB"/>
          </a:solidFill>
          <a:uFillTx/>
          <a:latin typeface="Open Sans Light"/>
          <a:ea typeface="Open Sans Light"/>
          <a:cs typeface="Open Sans Light"/>
          <a:sym typeface="Open Sans Light"/>
        </a:defRPr>
      </a:lvl3pPr>
      <a:lvl4pPr marL="0" marR="0" indent="342900" algn="ctr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-200" baseline="0">
          <a:solidFill>
            <a:srgbClr val="2E68FB"/>
          </a:solidFill>
          <a:uFillTx/>
          <a:latin typeface="Open Sans Light"/>
          <a:ea typeface="Open Sans Light"/>
          <a:cs typeface="Open Sans Light"/>
          <a:sym typeface="Open Sans Light"/>
        </a:defRPr>
      </a:lvl4pPr>
      <a:lvl5pPr marL="0" marR="0" indent="457200" algn="ctr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-200" baseline="0">
          <a:solidFill>
            <a:srgbClr val="2E68FB"/>
          </a:solidFill>
          <a:uFillTx/>
          <a:latin typeface="Open Sans Light"/>
          <a:ea typeface="Open Sans Light"/>
          <a:cs typeface="Open Sans Light"/>
          <a:sym typeface="Open Sans Light"/>
        </a:defRPr>
      </a:lvl5pPr>
      <a:lvl6pPr marL="0" marR="0" indent="571500" algn="ctr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-200" baseline="0">
          <a:solidFill>
            <a:srgbClr val="2E68FB"/>
          </a:solidFill>
          <a:uFillTx/>
          <a:latin typeface="Open Sans Light"/>
          <a:ea typeface="Open Sans Light"/>
          <a:cs typeface="Open Sans Light"/>
          <a:sym typeface="Open Sans Light"/>
        </a:defRPr>
      </a:lvl6pPr>
      <a:lvl7pPr marL="0" marR="0" indent="685800" algn="ctr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-200" baseline="0">
          <a:solidFill>
            <a:srgbClr val="2E68FB"/>
          </a:solidFill>
          <a:uFillTx/>
          <a:latin typeface="Open Sans Light"/>
          <a:ea typeface="Open Sans Light"/>
          <a:cs typeface="Open Sans Light"/>
          <a:sym typeface="Open Sans Light"/>
        </a:defRPr>
      </a:lvl7pPr>
      <a:lvl8pPr marL="0" marR="0" indent="800100" algn="ctr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-200" baseline="0">
          <a:solidFill>
            <a:srgbClr val="2E68FB"/>
          </a:solidFill>
          <a:uFillTx/>
          <a:latin typeface="Open Sans Light"/>
          <a:ea typeface="Open Sans Light"/>
          <a:cs typeface="Open Sans Light"/>
          <a:sym typeface="Open Sans Light"/>
        </a:defRPr>
      </a:lvl8pPr>
      <a:lvl9pPr marL="0" marR="0" indent="914400" algn="ctr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-200" baseline="0">
          <a:solidFill>
            <a:srgbClr val="2E68FB"/>
          </a:solidFill>
          <a:uFillTx/>
          <a:latin typeface="Open Sans Light"/>
          <a:ea typeface="Open Sans Light"/>
          <a:cs typeface="Open Sans Light"/>
          <a:sym typeface="Open Sans Light"/>
        </a:defRPr>
      </a:lvl9pPr>
    </p:titleStyle>
    <p:bodyStyle>
      <a:lvl1pPr marL="0" marR="0" indent="0" algn="l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-108" baseline="0">
          <a:solidFill>
            <a:srgbClr val="91CBFF"/>
          </a:solidFill>
          <a:uFillTx/>
          <a:latin typeface="Open Sans Light"/>
          <a:ea typeface="Open Sans Light"/>
          <a:cs typeface="Open Sans Light"/>
          <a:sym typeface="Open Sans Light"/>
        </a:defRPr>
      </a:lvl1pPr>
      <a:lvl2pPr marL="0" marR="0" indent="114300" algn="l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-108" baseline="0">
          <a:solidFill>
            <a:srgbClr val="91CBFF"/>
          </a:solidFill>
          <a:uFillTx/>
          <a:latin typeface="Open Sans Light"/>
          <a:ea typeface="Open Sans Light"/>
          <a:cs typeface="Open Sans Light"/>
          <a:sym typeface="Open Sans Light"/>
        </a:defRPr>
      </a:lvl2pPr>
      <a:lvl3pPr marL="0" marR="0" indent="228600" algn="l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-108" baseline="0">
          <a:solidFill>
            <a:srgbClr val="91CBFF"/>
          </a:solidFill>
          <a:uFillTx/>
          <a:latin typeface="Open Sans Light"/>
          <a:ea typeface="Open Sans Light"/>
          <a:cs typeface="Open Sans Light"/>
          <a:sym typeface="Open Sans Light"/>
        </a:defRPr>
      </a:lvl3pPr>
      <a:lvl4pPr marL="0" marR="0" indent="342900" algn="l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-108" baseline="0">
          <a:solidFill>
            <a:srgbClr val="91CBFF"/>
          </a:solidFill>
          <a:uFillTx/>
          <a:latin typeface="Open Sans Light"/>
          <a:ea typeface="Open Sans Light"/>
          <a:cs typeface="Open Sans Light"/>
          <a:sym typeface="Open Sans Light"/>
        </a:defRPr>
      </a:lvl4pPr>
      <a:lvl5pPr marL="0" marR="0" indent="457200" algn="l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-108" baseline="0">
          <a:solidFill>
            <a:srgbClr val="91CBFF"/>
          </a:solidFill>
          <a:uFillTx/>
          <a:latin typeface="Open Sans Light"/>
          <a:ea typeface="Open Sans Light"/>
          <a:cs typeface="Open Sans Light"/>
          <a:sym typeface="Open Sans Light"/>
        </a:defRPr>
      </a:lvl5pPr>
      <a:lvl6pPr marL="0" marR="0" indent="571500" algn="l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-108" baseline="0">
          <a:solidFill>
            <a:srgbClr val="91CBFF"/>
          </a:solidFill>
          <a:uFillTx/>
          <a:latin typeface="Open Sans Light"/>
          <a:ea typeface="Open Sans Light"/>
          <a:cs typeface="Open Sans Light"/>
          <a:sym typeface="Open Sans Light"/>
        </a:defRPr>
      </a:lvl6pPr>
      <a:lvl7pPr marL="0" marR="0" indent="685800" algn="l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-108" baseline="0">
          <a:solidFill>
            <a:srgbClr val="91CBFF"/>
          </a:solidFill>
          <a:uFillTx/>
          <a:latin typeface="Open Sans Light"/>
          <a:ea typeface="Open Sans Light"/>
          <a:cs typeface="Open Sans Light"/>
          <a:sym typeface="Open Sans Light"/>
        </a:defRPr>
      </a:lvl7pPr>
      <a:lvl8pPr marL="0" marR="0" indent="800100" algn="l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-108" baseline="0">
          <a:solidFill>
            <a:srgbClr val="91CBFF"/>
          </a:solidFill>
          <a:uFillTx/>
          <a:latin typeface="Open Sans Light"/>
          <a:ea typeface="Open Sans Light"/>
          <a:cs typeface="Open Sans Light"/>
          <a:sym typeface="Open Sans Light"/>
        </a:defRPr>
      </a:lvl8pPr>
      <a:lvl9pPr marL="0" marR="0" indent="914400" algn="l" defTabSz="2921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-108" baseline="0">
          <a:solidFill>
            <a:srgbClr val="91CBFF"/>
          </a:solidFill>
          <a:uFillTx/>
          <a:latin typeface="Open Sans Light"/>
          <a:ea typeface="Open Sans Light"/>
          <a:cs typeface="Open Sans Light"/>
          <a:sym typeface="Open Sans Light"/>
        </a:defRPr>
      </a:lvl9pPr>
    </p:bodyStyle>
    <p:otherStyle>
      <a:lvl1pPr marL="0" marR="0" indent="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1143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2286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3429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4572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5715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6858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8001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9144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8.png"/><Relationship Id="rId4" Type="http://schemas.openxmlformats.org/officeDocument/2006/relationships/image" Target="../media/image57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ustomXml" Target="../ink/ink2.xml"/><Relationship Id="rId13" Type="http://schemas.openxmlformats.org/officeDocument/2006/relationships/image" Target="../media/image30.png"/><Relationship Id="rId18" Type="http://schemas.openxmlformats.org/officeDocument/2006/relationships/customXml" Target="../ink/ink7.xml"/><Relationship Id="rId3" Type="http://schemas.openxmlformats.org/officeDocument/2006/relationships/image" Target="../media/image18.png"/><Relationship Id="rId7" Type="http://schemas.openxmlformats.org/officeDocument/2006/relationships/image" Target="../media/image27.png"/><Relationship Id="rId12" Type="http://schemas.openxmlformats.org/officeDocument/2006/relationships/customXml" Target="../ink/ink4.xml"/><Relationship Id="rId17" Type="http://schemas.openxmlformats.org/officeDocument/2006/relationships/image" Target="../media/image32.png"/><Relationship Id="rId2" Type="http://schemas.openxmlformats.org/officeDocument/2006/relationships/slideLayout" Target="../slideLayouts/slideLayout12.xml"/><Relationship Id="rId16" Type="http://schemas.openxmlformats.org/officeDocument/2006/relationships/customXml" Target="../ink/ink6.xml"/><Relationship Id="rId20" Type="http://schemas.openxmlformats.org/officeDocument/2006/relationships/image" Target="../media/image20.png"/><Relationship Id="rId1" Type="http://schemas.openxmlformats.org/officeDocument/2006/relationships/tags" Target="../tags/tag11.xml"/><Relationship Id="rId6" Type="http://schemas.openxmlformats.org/officeDocument/2006/relationships/customXml" Target="../ink/ink1.xml"/><Relationship Id="rId11" Type="http://schemas.openxmlformats.org/officeDocument/2006/relationships/image" Target="../media/image29.png"/><Relationship Id="rId5" Type="http://schemas.openxmlformats.org/officeDocument/2006/relationships/image" Target="../media/image19.emf"/><Relationship Id="rId15" Type="http://schemas.openxmlformats.org/officeDocument/2006/relationships/image" Target="../media/image31.png"/><Relationship Id="rId10" Type="http://schemas.openxmlformats.org/officeDocument/2006/relationships/customXml" Target="../ink/ink3.xml"/><Relationship Id="rId19" Type="http://schemas.openxmlformats.org/officeDocument/2006/relationships/image" Target="../media/image33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28.png"/><Relationship Id="rId14" Type="http://schemas.openxmlformats.org/officeDocument/2006/relationships/customXml" Target="../ink/ink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90.png"/><Relationship Id="rId4" Type="http://schemas.openxmlformats.org/officeDocument/2006/relationships/customXml" Target="../ink/ink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6" Type="http://schemas.openxmlformats.org/officeDocument/2006/relationships/image" Target="../media/image23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Relationship Id="rId6" Type="http://schemas.openxmlformats.org/officeDocument/2006/relationships/image" Target="../media/image26.jpeg"/><Relationship Id="rId5" Type="http://schemas.openxmlformats.org/officeDocument/2006/relationships/image" Target="../media/image19.emf"/><Relationship Id="rId10" Type="http://schemas.openxmlformats.org/officeDocument/2006/relationships/image" Target="../media/image3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ustomXml" Target="../ink/ink9.xml"/><Relationship Id="rId3" Type="http://schemas.openxmlformats.org/officeDocument/2006/relationships/hyperlink" Target="https://registry.terraform.io/providers/hashicorp/aws/latest/docs/resources/opensearch_domain" TargetMode="External"/><Relationship Id="rId7" Type="http://schemas.openxmlformats.org/officeDocument/2006/relationships/hyperlink" Target="https://registry.terraform.io/providers/opensearch-project/opensearch/latest/docs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registry.terraform.io/providers/phillbaker/elasticsearch/latest/docs" TargetMode="External"/><Relationship Id="rId5" Type="http://schemas.openxmlformats.org/officeDocument/2006/relationships/hyperlink" Target="https://ndmckinley.github.io/terraform-provider-dominos/" TargetMode="External"/><Relationship Id="rId10" Type="http://schemas.openxmlformats.org/officeDocument/2006/relationships/image" Target="../media/image38.png"/><Relationship Id="rId4" Type="http://schemas.openxmlformats.org/officeDocument/2006/relationships/hyperlink" Target="https://github.com/conradludgate/terraform-provider-spotify" TargetMode="External"/><Relationship Id="rId9" Type="http://schemas.openxmlformats.org/officeDocument/2006/relationships/image" Target="../media/image38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0.png"/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11" Type="http://schemas.openxmlformats.org/officeDocument/2006/relationships/image" Target="../media/image42.png"/><Relationship Id="rId10" Type="http://schemas.openxmlformats.org/officeDocument/2006/relationships/image" Target="../media/image41.png"/><Relationship Id="rId4" Type="http://schemas.openxmlformats.org/officeDocument/2006/relationships/customXml" Target="../ink/ink10.xml"/><Relationship Id="rId9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0.png"/><Relationship Id="rId13" Type="http://schemas.openxmlformats.org/officeDocument/2006/relationships/image" Target="../media/image47.png"/><Relationship Id="rId3" Type="http://schemas.openxmlformats.org/officeDocument/2006/relationships/customXml" Target="../ink/ink11.xml"/><Relationship Id="rId7" Type="http://schemas.openxmlformats.org/officeDocument/2006/relationships/customXml" Target="../ink/ink13.xml"/><Relationship Id="rId12" Type="http://schemas.openxmlformats.org/officeDocument/2006/relationships/image" Target="../media/image46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30.png"/><Relationship Id="rId11" Type="http://schemas.openxmlformats.org/officeDocument/2006/relationships/image" Target="../media/image45.png"/><Relationship Id="rId5" Type="http://schemas.openxmlformats.org/officeDocument/2006/relationships/customXml" Target="../ink/ink12.xml"/><Relationship Id="rId10" Type="http://schemas.openxmlformats.org/officeDocument/2006/relationships/image" Target="../media/image44.png"/><Relationship Id="rId4" Type="http://schemas.openxmlformats.org/officeDocument/2006/relationships/image" Target="../media/image520.png"/><Relationship Id="rId9" Type="http://schemas.openxmlformats.org/officeDocument/2006/relationships/hyperlink" Target="https://opensearch.org/blog/A-comprehensive-guide-to-setup-and-connect-self-managed-dashboards-with-Amazon-OpenSearch-domain/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png"/><Relationship Id="rId3" Type="http://schemas.openxmlformats.org/officeDocument/2006/relationships/customXml" Target="../ink/ink14.xml"/><Relationship Id="rId7" Type="http://schemas.openxmlformats.org/officeDocument/2006/relationships/image" Target="../media/image48.png"/><Relationship Id="rId12" Type="http://schemas.openxmlformats.org/officeDocument/2006/relationships/image" Target="../media/image5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2.png"/><Relationship Id="rId11" Type="http://schemas.openxmlformats.org/officeDocument/2006/relationships/image" Target="../media/image52.png"/><Relationship Id="rId5" Type="http://schemas.openxmlformats.org/officeDocument/2006/relationships/customXml" Target="../ink/ink15.xml"/><Relationship Id="rId10" Type="http://schemas.openxmlformats.org/officeDocument/2006/relationships/image" Target="../media/image51.png"/><Relationship Id="rId4" Type="http://schemas.openxmlformats.org/officeDocument/2006/relationships/image" Target="../media/image71.png"/><Relationship Id="rId9" Type="http://schemas.openxmlformats.org/officeDocument/2006/relationships/image" Target="../media/image5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" name="End to End…"/>
          <p:cNvSpPr txBox="1"/>
          <p:nvPr/>
        </p:nvSpPr>
        <p:spPr>
          <a:xfrm>
            <a:off x="992787" y="2490148"/>
            <a:ext cx="10607019" cy="22518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defTabSz="292100" hangingPunct="0">
              <a:defRPr sz="5700" spc="-170">
                <a:latin typeface="Open Sans Bold"/>
                <a:ea typeface="Open Sans Bold"/>
                <a:cs typeface="Open Sans Bold"/>
                <a:sym typeface="Open Sans Bold"/>
              </a:defRPr>
            </a:pPr>
            <a:r>
              <a:rPr lang="en-GB" sz="3600" kern="0" spc="-85" dirty="0">
                <a:solidFill>
                  <a:srgbClr val="FFFFFF"/>
                </a:solidFill>
                <a:latin typeface="Open Sans Bold"/>
              </a:rPr>
              <a:t>Delicacies of Observability: </a:t>
            </a:r>
            <a:br>
              <a:rPr lang="en-GB" sz="3600" kern="0" spc="-85" dirty="0">
                <a:solidFill>
                  <a:srgbClr val="FFFFFF"/>
                </a:solidFill>
                <a:latin typeface="Open Sans Bold"/>
              </a:rPr>
            </a:br>
            <a:r>
              <a:rPr lang="en-GB" sz="3600" kern="0" spc="-85" dirty="0">
                <a:solidFill>
                  <a:srgbClr val="FFFFFF"/>
                </a:solidFill>
                <a:latin typeface="Open Sans Bold"/>
              </a:rPr>
              <a:t>AWS OpenSearch Cluster from 'rare' to 'well-done'</a:t>
            </a:r>
          </a:p>
          <a:p>
            <a:pPr marL="0" marR="0" lvl="0" indent="0" algn="ctr" defTabSz="2921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700" spc="-170">
                <a:latin typeface="Open Sans Bold"/>
                <a:ea typeface="Open Sans Bold"/>
                <a:cs typeface="Open Sans Bold"/>
                <a:sym typeface="Open Sans Bold"/>
              </a:defRPr>
            </a:pPr>
            <a:endParaRPr kumimoji="0" lang="en-GB" sz="3600" b="0" i="0" u="none" strike="noStrike" kern="0" cap="none" spc="-85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Bold"/>
              <a:ea typeface="Open Sans Bold"/>
              <a:cs typeface="Open Sans Bold"/>
              <a:sym typeface="Open Sans Bold"/>
            </a:endParaRPr>
          </a:p>
          <a:p>
            <a:pPr marL="0" marR="0" lvl="0" indent="0" algn="ctr" defTabSz="2921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spc="-89"/>
            </a:pPr>
            <a:r>
              <a:rPr kumimoji="0" lang="en-GB" sz="3000" b="0" i="0" u="none" strike="noStrike" kern="0" cap="none" spc="-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 Light"/>
              </a:rPr>
              <a:t>Eugene </a:t>
            </a:r>
            <a:r>
              <a:rPr kumimoji="0" lang="en-GB" sz="3000" b="0" i="0" u="none" strike="noStrike" kern="0" cap="none" spc="-45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 Light"/>
              </a:rPr>
              <a:t>Tolbakov</a:t>
            </a:r>
            <a:endParaRPr kumimoji="0" lang="en-GB" sz="3000" b="0" i="0" u="none" strike="noStrike" kern="0" cap="none" spc="-45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 Light"/>
            </a:endParaRPr>
          </a:p>
        </p:txBody>
      </p:sp>
      <p:sp>
        <p:nvSpPr>
          <p:cNvPr id="392" name="Line"/>
          <p:cNvSpPr/>
          <p:nvPr/>
        </p:nvSpPr>
        <p:spPr>
          <a:xfrm flipV="1">
            <a:off x="1237650" y="225358"/>
            <a:ext cx="1" cy="140650"/>
          </a:xfrm>
          <a:prstGeom prst="line">
            <a:avLst/>
          </a:prstGeom>
          <a:ln w="19050">
            <a:solidFill>
              <a:srgbClr val="D6D6D6"/>
            </a:solidFill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AF9CFB3-E74B-036C-46C8-18F0D94CEC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8252" y="99308"/>
            <a:ext cx="1219200" cy="5334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825ED7A-8254-032D-3ECF-98920EC129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45700" y="99308"/>
            <a:ext cx="2146300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932677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8F8F543-9A28-EF8D-0CDB-CBA4603358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67826" y="0"/>
            <a:ext cx="4533900" cy="152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CCD3865-FE6F-0FB4-A1C0-B6A3347D6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OPENSEARCH 10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B46B8F-6031-5557-DA77-5113069CEFB5}"/>
              </a:ext>
            </a:extLst>
          </p:cNvPr>
          <p:cNvSpPr txBox="1"/>
          <p:nvPr/>
        </p:nvSpPr>
        <p:spPr>
          <a:xfrm>
            <a:off x="370295" y="1219775"/>
            <a:ext cx="4133611" cy="988669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18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Apache 2.0</a:t>
            </a:r>
            <a:r>
              <a:rPr lang="en-GB" dirty="0">
                <a:effectLst/>
              </a:rPr>
              <a:t>; 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US" sz="18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2021 Elasticsearch 🍴(version 7.10.2) 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Times New Roman" panose="02020603050405020304" pitchFamily="18" charset="0"/>
                <a:ea typeface="Open Sans Light" panose="020B0606030504020204" pitchFamily="34" charset="0"/>
                <a:cs typeface="Open Sans Light" panose="020B0606030504020204" pitchFamily="34" charset="0"/>
              </a:rPr>
              <a:t>Workload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23D6936-3694-9CFC-33E7-19A2DFF6E2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49377" y="361950"/>
            <a:ext cx="3543300" cy="6858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8147E61-DF51-8A9A-784C-0332BB31A1E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6515" y="986384"/>
            <a:ext cx="6070858" cy="5193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4296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80EB2-074F-B061-6361-421FD9A52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ROLES / ROLE-MAPPINGS(1/2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B5D9495-F013-4BB8-F785-FC440A31CE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07516" y="632392"/>
            <a:ext cx="3841749" cy="147167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1B575DD-9E16-9283-C4FE-58E4A86192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3415" y="1758341"/>
            <a:ext cx="6530616" cy="409381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60A44CA-3582-CDD9-1470-1A3AEE93E3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049" y="4117351"/>
            <a:ext cx="3390900" cy="9701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48FF5B0-6754-3EEF-4FC8-8CD6220726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49314" y="3839210"/>
            <a:ext cx="2493551" cy="201295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5272869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80EB2-074F-B061-6361-421FD9A52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ROLES / ROLE-MAPPINGS(2/2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04A9B89-399C-FFE7-72EC-143F84667F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0358" y="1307260"/>
            <a:ext cx="5415643" cy="22556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EFD8386-3E23-3B9C-4204-D7FAC09EA6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95" y="3960809"/>
            <a:ext cx="10500906" cy="21864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12BCA3A-E61D-B36A-96D6-26F66B9D787B}"/>
              </a:ext>
            </a:extLst>
          </p:cNvPr>
          <p:cNvSpPr txBox="1"/>
          <p:nvPr/>
        </p:nvSpPr>
        <p:spPr>
          <a:xfrm>
            <a:off x="675095" y="1307260"/>
            <a:ext cx="4087405" cy="1299458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field-level security 🤓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advanced settings granularity 😔</a:t>
            </a:r>
            <a:endParaRPr lang="en-US" dirty="0">
              <a:solidFill>
                <a:srgbClr val="000000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‘</a:t>
            </a:r>
            <a:r>
              <a:rPr lang="en-US" dirty="0" err="1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ecurity_manager</a:t>
            </a:r>
            <a:r>
              <a:rPr lang="en-US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’ in terraform 😵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e</a:t>
            </a:r>
            <a:r>
              <a:rPr lang="en-US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bugging 🔎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75254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02A3BC-6F22-4756-115A-69D94D9CE2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TEMPLAT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77805B0-F438-2827-7993-57CF61B4F3F8}"/>
              </a:ext>
            </a:extLst>
          </p:cNvPr>
          <p:cNvSpPr txBox="1"/>
          <p:nvPr/>
        </p:nvSpPr>
        <p:spPr>
          <a:xfrm>
            <a:off x="380974" y="1033884"/>
            <a:ext cx="5192447" cy="284117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marL="171450" indent="-1714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sz="1200" b="0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What?</a:t>
            </a:r>
            <a:r>
              <a:rPr lang="en-GB" sz="1200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  blueprints for creating indexes with predefined settings and mappings</a:t>
            </a:r>
            <a:endParaRPr lang="en-US" sz="1200" b="0" i="0" dirty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9325FB2-B0CC-7AF5-6BA2-73741A5C88C1}"/>
              </a:ext>
            </a:extLst>
          </p:cNvPr>
          <p:cNvSpPr txBox="1"/>
          <p:nvPr/>
        </p:nvSpPr>
        <p:spPr>
          <a:xfrm>
            <a:off x="354988" y="1332566"/>
            <a:ext cx="7531712" cy="64633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GB" sz="1200" b="0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 Why?</a:t>
            </a:r>
            <a:r>
              <a:rPr lang="en-GB" sz="1200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 Copying the same settings across various indexes, especially one by one, is tedious and sometimes error-prone; </a:t>
            </a:r>
          </a:p>
          <a:p>
            <a:r>
              <a:rPr lang="en-GB" sz="1200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We are aiming for settings to be </a:t>
            </a:r>
            <a:r>
              <a:rPr lang="en-GB" sz="1200" b="1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homogenous across the organization</a:t>
            </a:r>
            <a:r>
              <a:rPr lang="en-GB" sz="1200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GB" sz="1200" b="0" i="0" dirty="0">
              <a:solidFill>
                <a:srgbClr val="1F2328"/>
              </a:solidFill>
              <a:effectLst/>
              <a:highlight>
                <a:srgbClr val="FFFFFF"/>
              </a:highlight>
              <a:latin typeface="-apple-system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1651385-3F06-510B-48D1-21D483D33EE8}"/>
              </a:ext>
            </a:extLst>
          </p:cNvPr>
          <p:cNvSpPr txBox="1"/>
          <p:nvPr/>
        </p:nvSpPr>
        <p:spPr>
          <a:xfrm>
            <a:off x="354988" y="1804318"/>
            <a:ext cx="9392571" cy="27699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GB" sz="1200" b="0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 How?</a:t>
            </a:r>
            <a:r>
              <a:rPr lang="en-GB" sz="1200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 Defining a template with a schema up front, a new index will be implicitly created from this schema if the index name matches the template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18050DE-1449-8424-EC77-9068F5E6C4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47710" y="2188822"/>
            <a:ext cx="4396936" cy="3586714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80CBA0A9-6EF1-401A-6060-8DBC3A24E2C4}"/>
              </a:ext>
            </a:extLst>
          </p:cNvPr>
          <p:cNvSpPr txBox="1"/>
          <p:nvPr/>
        </p:nvSpPr>
        <p:spPr>
          <a:xfrm>
            <a:off x="7696136" y="2481985"/>
            <a:ext cx="1260281" cy="279692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1200" b="0" i="0" dirty="0">
                <a:solidFill>
                  <a:schemeClr val="tx2"/>
                </a:solidFill>
                <a:latin typeface="Arial"/>
              </a:rPr>
              <a:t>* Index pattern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C4428E0-05E1-67DB-DEA3-7AA74F1A6E2C}"/>
              </a:ext>
            </a:extLst>
          </p:cNvPr>
          <p:cNvSpPr txBox="1"/>
          <p:nvPr/>
        </p:nvSpPr>
        <p:spPr>
          <a:xfrm>
            <a:off x="7559449" y="3590550"/>
            <a:ext cx="4061051" cy="129535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171450" indent="-1714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latin typeface="Arial"/>
              </a:rPr>
              <a:t>Settings</a:t>
            </a:r>
          </a:p>
          <a:p>
            <a:pPr marL="628650" lvl="1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latin typeface="Arial"/>
              </a:rPr>
              <a:t>Refresh interval</a:t>
            </a:r>
          </a:p>
          <a:p>
            <a:pPr marL="628650" lvl="1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latin typeface="Arial"/>
              </a:rPr>
              <a:t>Pipelines (more on it later)</a:t>
            </a:r>
          </a:p>
          <a:p>
            <a:pPr marL="628650" lvl="1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latin typeface="Arial"/>
              </a:rPr>
              <a:t>Shard size / Number of replicas</a:t>
            </a:r>
          </a:p>
          <a:p>
            <a:pPr marL="1085850" lvl="2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chemeClr val="tx2"/>
                </a:solidFill>
                <a:latin typeface="Arial"/>
              </a:rPr>
              <a:t>Even matching | shards are not dynamic </a:t>
            </a:r>
          </a:p>
          <a:p>
            <a:pPr marL="1085850" lvl="2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802355C-4B2F-3429-0D74-8EDE97691C03}"/>
              </a:ext>
            </a:extLst>
          </p:cNvPr>
          <p:cNvSpPr txBox="1"/>
          <p:nvPr/>
        </p:nvSpPr>
        <p:spPr>
          <a:xfrm>
            <a:off x="407424" y="2046764"/>
            <a:ext cx="2888163" cy="284117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1200" b="0" i="0" dirty="0">
                <a:solidFill>
                  <a:schemeClr val="tx2"/>
                </a:solidFill>
                <a:latin typeface="Arial"/>
              </a:rPr>
              <a:t>2 categories: </a:t>
            </a:r>
            <a:r>
              <a:rPr lang="en-GB" sz="1200" b="0" i="0" dirty="0">
                <a:solidFill>
                  <a:srgbClr val="1F2328"/>
                </a:solidFill>
                <a:effectLst/>
                <a:latin typeface="ui-monospace"/>
              </a:rPr>
              <a:t>composable and component</a:t>
            </a:r>
            <a:endParaRPr lang="en-US" sz="1200" b="0" i="0" dirty="0">
              <a:solidFill>
                <a:schemeClr val="tx2"/>
              </a:solidFill>
              <a:latin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6AC8FDB-B9CE-3F0D-81A2-C41B3D15AA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435" y="4844851"/>
            <a:ext cx="3820921" cy="141865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7E7C62A-F4B0-DF21-A679-CA6C42CE148C}"/>
              </a:ext>
            </a:extLst>
          </p:cNvPr>
          <p:cNvSpPr txBox="1"/>
          <p:nvPr/>
        </p:nvSpPr>
        <p:spPr>
          <a:xfrm>
            <a:off x="7644646" y="3007681"/>
            <a:ext cx="610616" cy="279692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1200" b="0" i="0" dirty="0">
                <a:solidFill>
                  <a:schemeClr val="tx2"/>
                </a:solidFill>
                <a:latin typeface="Arial"/>
              </a:rPr>
              <a:t>* Alias</a:t>
            </a:r>
          </a:p>
        </p:txBody>
      </p:sp>
    </p:spTree>
    <p:extLst>
      <p:ext uri="{BB962C8B-B14F-4D97-AF65-F5344CB8AC3E}">
        <p14:creationId xmlns:p14="http://schemas.microsoft.com/office/powerpoint/2010/main" val="17537392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02A3BC-6F22-4756-115A-69D94D9CE2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TEMPLATES | MAPPING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5CC6437-979E-5C3C-37A3-C3827D328AA5}"/>
              </a:ext>
            </a:extLst>
          </p:cNvPr>
          <p:cNvSpPr txBox="1"/>
          <p:nvPr/>
        </p:nvSpPr>
        <p:spPr>
          <a:xfrm>
            <a:off x="411963" y="1486547"/>
            <a:ext cx="4889379" cy="2006318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171450" indent="-1714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latin typeface="Arial"/>
              </a:rPr>
              <a:t>Mapping (should I have examples)</a:t>
            </a:r>
          </a:p>
          <a:p>
            <a:pPr marL="628650" lvl="1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sz="1200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Default is UUID not practical for this use-case</a:t>
            </a:r>
            <a:endParaRPr lang="en-US" sz="1200" dirty="0">
              <a:solidFill>
                <a:schemeClr val="tx2"/>
              </a:solidFill>
              <a:latin typeface="Arial"/>
            </a:endParaRPr>
          </a:p>
          <a:p>
            <a:pPr marL="628650" lvl="1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chemeClr val="tx2"/>
                </a:solidFill>
                <a:latin typeface="Arial"/>
              </a:rPr>
              <a:t>Dynamic: true./ false  / runtime</a:t>
            </a:r>
          </a:p>
          <a:p>
            <a:pPr marL="628650" lvl="1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latin typeface="Arial"/>
              </a:rPr>
              <a:t>@</a:t>
            </a:r>
            <a:r>
              <a:rPr lang="en-US" sz="1200" b="0" i="0" dirty="0">
                <a:solidFill>
                  <a:schemeClr val="tx2"/>
                </a:solidFill>
                <a:latin typeface="Arial"/>
              </a:rPr>
              <a:t>timestamp: </a:t>
            </a:r>
            <a:r>
              <a:rPr lang="en-GB" sz="1200" dirty="0" err="1">
                <a:solidFill>
                  <a:srgbClr val="080808"/>
                </a:solidFill>
                <a:effectLst/>
                <a:highlight>
                  <a:srgbClr val="FFFFFF"/>
                </a:highlight>
              </a:rPr>
              <a:t>date_nanos</a:t>
            </a:r>
            <a:endParaRPr lang="en-GB" sz="1200" dirty="0">
              <a:solidFill>
                <a:srgbClr val="080808"/>
              </a:solidFill>
              <a:effectLst/>
              <a:highlight>
                <a:srgbClr val="FFFFFF"/>
              </a:highlight>
            </a:endParaRPr>
          </a:p>
          <a:p>
            <a:pPr marL="628650" lvl="1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sz="1200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doc_values</a:t>
            </a:r>
            <a:endParaRPr lang="en-GB" sz="1200" b="0" dirty="0">
              <a:solidFill>
                <a:srgbClr val="1F2328"/>
              </a:solidFill>
              <a:effectLst/>
              <a:highlight>
                <a:srgbClr val="FFFFFF"/>
              </a:highlight>
              <a:latin typeface="Menlo" panose="020B0609030804020204" pitchFamily="49" charset="0"/>
            </a:endParaRPr>
          </a:p>
          <a:p>
            <a:pPr marL="628650" lvl="1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sz="1200" dirty="0" err="1">
                <a:solidFill>
                  <a:srgbClr val="1F2328"/>
                </a:solidFill>
                <a:highlight>
                  <a:srgbClr val="FFFFFF"/>
                </a:highlight>
                <a:latin typeface="Menlo" panose="020B0609030804020204" pitchFamily="49" charset="0"/>
              </a:rPr>
              <a:t>flat_object</a:t>
            </a:r>
            <a:r>
              <a:rPr lang="en-GB" sz="1200" dirty="0">
                <a:solidFill>
                  <a:srgbClr val="1F2328"/>
                </a:solidFill>
                <a:highlight>
                  <a:srgbClr val="FFFFFF"/>
                </a:highlight>
                <a:latin typeface="Menlo" panose="020B0609030804020204" pitchFamily="49" charset="0"/>
              </a:rPr>
              <a:t> type</a:t>
            </a:r>
          </a:p>
          <a:p>
            <a:pPr marL="628650" lvl="1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sz="1200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match_only_text</a:t>
            </a:r>
            <a:endParaRPr lang="en-GB" sz="1200" dirty="0">
              <a:solidFill>
                <a:srgbClr val="080808"/>
              </a:solidFill>
              <a:effectLst/>
              <a:highlight>
                <a:srgbClr val="FFFFFF"/>
              </a:highlight>
            </a:endParaRPr>
          </a:p>
          <a:p>
            <a:pPr marL="628650" lvl="1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effectLst/>
                <a:latin typeface="Arial"/>
              </a:rPr>
              <a:t>Metadata field size</a:t>
            </a:r>
            <a:r>
              <a:rPr lang="en-GB" sz="1800" dirty="0">
                <a:solidFill>
                  <a:srgbClr val="232323"/>
                </a:solidFill>
                <a:effectLst/>
                <a:latin typeface="CourierStd"/>
              </a:rPr>
              <a:t> _size / painless</a:t>
            </a:r>
            <a:endParaRPr lang="en-US" sz="1200" b="0" i="0" dirty="0">
              <a:solidFill>
                <a:schemeClr val="tx2"/>
              </a:solidFill>
              <a:latin typeface="Arial"/>
            </a:endParaRPr>
          </a:p>
          <a:p>
            <a:pPr marL="628650" lvl="1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BBC0211-07ED-1111-3D82-5FDACFEBA72F}"/>
              </a:ext>
            </a:extLst>
          </p:cNvPr>
          <p:cNvSpPr txBox="1"/>
          <p:nvPr/>
        </p:nvSpPr>
        <p:spPr>
          <a:xfrm>
            <a:off x="8176413" y="2144436"/>
            <a:ext cx="1827932" cy="48282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1200" b="0" i="0" dirty="0">
                <a:solidFill>
                  <a:schemeClr val="tx2"/>
                </a:solidFill>
                <a:latin typeface="Arial"/>
              </a:rPr>
              <a:t>TODO –STACKTRACE : 56 term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3DFDC88-5AE2-2A48-8969-BE833EB01218}"/>
              </a:ext>
            </a:extLst>
          </p:cNvPr>
          <p:cNvSpPr/>
          <p:nvPr/>
        </p:nvSpPr>
        <p:spPr>
          <a:xfrm>
            <a:off x="7504386" y="1618593"/>
            <a:ext cx="3489435" cy="1534510"/>
          </a:xfrm>
          <a:prstGeom prst="rect">
            <a:avLst/>
          </a:prstGeom>
          <a:noFill/>
          <a:ln w="9525"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9406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02A3BC-6F22-4756-115A-69D94D9CE2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PATTERN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C83A49D-84DC-0D3B-03BF-5A55CA89E4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120" y="2901635"/>
            <a:ext cx="7772400" cy="77724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C702810-9664-63C1-1D51-1748728E52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2495" y="3956365"/>
            <a:ext cx="4981828" cy="24135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A2539A1-87D9-4718-011F-0F0F2DA957A3}"/>
              </a:ext>
            </a:extLst>
          </p:cNvPr>
          <p:cNvSpPr txBox="1"/>
          <p:nvPr/>
        </p:nvSpPr>
        <p:spPr>
          <a:xfrm>
            <a:off x="562495" y="1208128"/>
            <a:ext cx="4087405" cy="989823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‘.</a:t>
            </a:r>
            <a:r>
              <a:rPr lang="en-GB" dirty="0" err="1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kibana</a:t>
            </a:r>
            <a:r>
              <a:rPr lang="en-GB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’ index alias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refresh</a:t>
            </a:r>
            <a:endParaRPr lang="en-US" dirty="0">
              <a:solidFill>
                <a:srgbClr val="000000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Type: number / Format: Byt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00C6246-2A3D-7EC6-98AC-9BFC50EC27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08792" y="1345447"/>
            <a:ext cx="5067300" cy="121920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7192296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B61539B-CDC0-251A-3C43-26982FD7EA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0599" y="956452"/>
            <a:ext cx="5248489" cy="267375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76B2FA1-E167-C148-8EFB-3D8D91B91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586" y="240057"/>
            <a:ext cx="11041380" cy="601980"/>
          </a:xfrm>
        </p:spPr>
        <p:txBody>
          <a:bodyPr/>
          <a:lstStyle/>
          <a:p>
            <a:r>
              <a:rPr lang="en-US" dirty="0"/>
              <a:t>ISM / ILM POLICI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06580DE-9EA6-C6E8-CEAD-46D7BA70C8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4842" y="4220075"/>
            <a:ext cx="2719795" cy="18013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C721914-0537-9350-15A0-0F89C63F80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37364" y="0"/>
            <a:ext cx="2874702" cy="68580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56FA16B-0C37-BA95-99E1-5263584B97F3}"/>
              </a:ext>
            </a:extLst>
          </p:cNvPr>
          <p:cNvSpPr txBox="1"/>
          <p:nvPr/>
        </p:nvSpPr>
        <p:spPr>
          <a:xfrm>
            <a:off x="382995" y="1533508"/>
            <a:ext cx="3339919" cy="759823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sz="10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Hot – fastest/costly </a:t>
            </a:r>
            <a:r>
              <a:rPr lang="en-GB" sz="1000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 </a:t>
            </a:r>
            <a:r>
              <a:rPr lang="en-GB" sz="1000" b="0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im4gn</a:t>
            </a:r>
            <a:r>
              <a:rPr lang="en-GB" sz="1000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 </a:t>
            </a:r>
            <a:r>
              <a:rPr lang="en-GB" sz="1000" b="0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MRC-6g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sz="10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Mixed Hot/Warm </a:t>
            </a:r>
            <a:r>
              <a:rPr lang="en-GB" sz="1000" b="0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OR1*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sz="1000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UltraWarm</a:t>
            </a:r>
            <a:endParaRPr lang="en-GB" sz="1000" b="0" dirty="0">
              <a:solidFill>
                <a:srgbClr val="1F2328"/>
              </a:solidFill>
              <a:effectLst/>
              <a:highlight>
                <a:srgbClr val="FFFFFF"/>
              </a:highlight>
              <a:latin typeface="Menlo" panose="020B0609030804020204" pitchFamily="49" charset="0"/>
            </a:endParaRP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sz="1000" dirty="0">
                <a:solidFill>
                  <a:srgbClr val="1F2328"/>
                </a:solidFill>
                <a:highlight>
                  <a:srgbClr val="FFFFFF"/>
                </a:highlight>
                <a:latin typeface="Menlo" panose="020B0609030804020204" pitchFamily="49" charset="0"/>
              </a:rPr>
              <a:t>Cold (S3)</a:t>
            </a:r>
            <a:r>
              <a:rPr lang="en-GB" sz="10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53DFACD-CB7D-DBEC-9333-10576F1F4C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73251" y="2449385"/>
            <a:ext cx="2238730" cy="3339745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0B8BD3D-10E0-6F70-1342-AF9C6C871B13}"/>
              </a:ext>
            </a:extLst>
          </p:cNvPr>
          <p:cNvCxnSpPr/>
          <p:nvPr/>
        </p:nvCxnSpPr>
        <p:spPr>
          <a:xfrm>
            <a:off x="6389914" y="3813713"/>
            <a:ext cx="368062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9E155EA5-395D-C36B-D7E1-B94641064D07}"/>
              </a:ext>
            </a:extLst>
          </p:cNvPr>
          <p:cNvSpPr txBox="1"/>
          <p:nvPr/>
        </p:nvSpPr>
        <p:spPr>
          <a:xfrm>
            <a:off x="382995" y="2926926"/>
            <a:ext cx="3339919" cy="25257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sz="10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Look after the rollover</a:t>
            </a:r>
            <a:endParaRPr lang="en-GB" sz="1000" b="0" i="1" dirty="0">
              <a:solidFill>
                <a:srgbClr val="1F2328"/>
              </a:solidFill>
              <a:effectLst/>
              <a:highlight>
                <a:srgbClr val="FFFFFF"/>
              </a:highlight>
              <a:latin typeface="-apple-system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FD49ED1-ABC4-C056-4A72-AEB16EFEFA17}"/>
              </a:ext>
            </a:extLst>
          </p:cNvPr>
          <p:cNvCxnSpPr>
            <a:cxnSpLocks/>
          </p:cNvCxnSpPr>
          <p:nvPr/>
        </p:nvCxnSpPr>
        <p:spPr>
          <a:xfrm>
            <a:off x="6389914" y="2952410"/>
            <a:ext cx="794657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34092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BC0796-7E31-74B5-629E-87AD4BFD90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GEST PIPELIN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11028D4-9DAD-34D0-1A3C-15A00F7EA9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1638" y="3347045"/>
            <a:ext cx="5294762" cy="216210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D9663A5-EBF8-8A0E-3005-F9D3057658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2431" y="3347045"/>
            <a:ext cx="6115312" cy="216210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4457943-3AFD-0E16-1BE7-C7594007D2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43448" y="1348847"/>
            <a:ext cx="4992952" cy="155769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9756149-4429-A95E-4A01-B87F3B75014C}"/>
              </a:ext>
            </a:extLst>
          </p:cNvPr>
          <p:cNvSpPr txBox="1"/>
          <p:nvPr/>
        </p:nvSpPr>
        <p:spPr>
          <a:xfrm>
            <a:off x="571500" y="1512060"/>
            <a:ext cx="4087405" cy="38536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lang="en-GB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Enrichment 💰</a:t>
            </a:r>
          </a:p>
        </p:txBody>
      </p:sp>
    </p:spTree>
    <p:extLst>
      <p:ext uri="{BB962C8B-B14F-4D97-AF65-F5344CB8AC3E}">
        <p14:creationId xmlns:p14="http://schemas.microsoft.com/office/powerpoint/2010/main" val="21371517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E78F3-9CAA-CA36-E882-825BBE54E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CKLIST | BEST PRACTIC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097EABD-C37E-B2DE-4B29-2A85BB93BADD}"/>
              </a:ext>
            </a:extLst>
          </p:cNvPr>
          <p:cNvSpPr txBox="1"/>
          <p:nvPr/>
        </p:nvSpPr>
        <p:spPr>
          <a:xfrm>
            <a:off x="1206500" y="2184400"/>
            <a:ext cx="5019323" cy="2495683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r>
              <a:rPr lang="en-GB" sz="1200" b="1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### Managed clusters - best-practices mini-checklist</a:t>
            </a:r>
            <a:endParaRPr lang="en-GB" sz="1200" b="0" dirty="0">
              <a:solidFill>
                <a:srgbClr val="1F2328"/>
              </a:solidFill>
              <a:effectLst/>
              <a:highlight>
                <a:srgbClr val="FFFFFF"/>
              </a:highlight>
              <a:latin typeface="Menlo" panose="020B0609030804020204" pitchFamily="49" charset="0"/>
            </a:endParaRPr>
          </a:p>
          <a:p>
            <a:r>
              <a:rPr lang="en-GB" sz="1200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Deploy, monitor, adjust</a:t>
            </a:r>
          </a:p>
          <a:p>
            <a:r>
              <a:rPr lang="en-GB" sz="1200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use _bulk API</a:t>
            </a:r>
          </a:p>
          <a:p>
            <a:r>
              <a:rPr lang="en-GB" sz="1200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use 3 Dedicated cluster manager nodes</a:t>
            </a:r>
          </a:p>
          <a:p>
            <a:r>
              <a:rPr lang="en-GB" sz="1200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select 3 zones with Multi-AZ</a:t>
            </a:r>
          </a:p>
          <a:p>
            <a:r>
              <a:rPr lang="en-GB" sz="1200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set a template and use 2 replicas</a:t>
            </a:r>
          </a:p>
          <a:p>
            <a:b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</a:br>
            <a:r>
              <a:rPr lang="en-GB" sz="1200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Free storage </a:t>
            </a:r>
            <a:r>
              <a:rPr lang="en-GB" sz="1200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&gt;= 25%`</a:t>
            </a:r>
            <a:endParaRPr lang="en-GB" sz="1200" b="0" dirty="0">
              <a:solidFill>
                <a:srgbClr val="1F2328"/>
              </a:solidFill>
              <a:effectLst/>
              <a:highlight>
                <a:srgbClr val="FFFFFF"/>
              </a:highlight>
              <a:latin typeface="Menlo" panose="020B0609030804020204" pitchFamily="49" charset="0"/>
            </a:endParaRPr>
          </a:p>
          <a:p>
            <a:r>
              <a:rPr lang="en-GB" sz="1200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</a:t>
            </a:r>
            <a:r>
              <a:rPr lang="en-GB" sz="1200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Shards:vCPU</a:t>
            </a: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= </a:t>
            </a:r>
            <a:r>
              <a:rPr lang="en-GB" sz="1200" b="0" dirty="0">
                <a:solidFill>
                  <a:srgbClr val="0550AE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`1:1.5`</a:t>
            </a:r>
            <a:endParaRPr lang="en-GB" sz="1200" b="0" dirty="0">
              <a:solidFill>
                <a:srgbClr val="1F2328"/>
              </a:solidFill>
              <a:effectLst/>
              <a:highlight>
                <a:srgbClr val="FFFFFF"/>
              </a:highlight>
              <a:latin typeface="Menlo" panose="020B0609030804020204" pitchFamily="49" charset="0"/>
            </a:endParaRPr>
          </a:p>
          <a:p>
            <a:r>
              <a:rPr lang="en-GB" sz="1200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Shard size = 50GB(logs) / 30 for search</a:t>
            </a:r>
          </a:p>
          <a:p>
            <a:r>
              <a:rPr lang="en-GB" sz="1200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Max shards per node = 25 * JVM heap size</a:t>
            </a:r>
          </a:p>
          <a:p>
            <a:r>
              <a:rPr lang="en-GB" sz="1200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-</a:t>
            </a: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Menlo" panose="020B0609030804020204" pitchFamily="49" charset="0"/>
              </a:rPr>
              <a:t> Total shard count &lt; 30K</a:t>
            </a:r>
          </a:p>
          <a:p>
            <a:pPr algn="l">
              <a:lnSpc>
                <a:spcPct val="110000"/>
              </a:lnSpc>
            </a:pPr>
            <a:endParaRPr lang="en-US" sz="1200" b="0" i="0" dirty="0">
              <a:solidFill>
                <a:schemeClr val="tx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37125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0A2FD1-DCB0-3A76-A507-863F8BCCF3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120" y="403860"/>
            <a:ext cx="11041380" cy="601980"/>
          </a:xfrm>
        </p:spPr>
        <p:txBody>
          <a:bodyPr vert="horz" wrap="square" lIns="0" tIns="0" rIns="0" bIns="0" rtlCol="0" anchor="b">
            <a:normAutofit/>
          </a:bodyPr>
          <a:lstStyle/>
          <a:p>
            <a:r>
              <a:rPr lang="en-US" b="0" i="0" kern="12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THANK YOU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3542ECF-742B-10CA-C484-0516F1B9A9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7592" y="1103024"/>
            <a:ext cx="2593160" cy="259316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0101D6A-2972-E57B-7761-E5B7F1D6B5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594" y="1103024"/>
            <a:ext cx="2691816" cy="2691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8108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B5BF381-745E-1F0E-2D03-8F70F1986D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5570"/>
            <a:ext cx="5510377" cy="6842430"/>
          </a:xfrm>
          <a:prstGeom prst="rect">
            <a:avLst/>
          </a:prstGeom>
        </p:spPr>
      </p:pic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F2C196FE-32DC-A2CA-4FD7-106CF89F3C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6" imgH="367" progId="TCLayout.ActiveDocument.1">
                  <p:embed/>
                </p:oleObj>
              </mc:Choice>
              <mc:Fallback>
                <p:oleObj name="think-cell Slide" r:id="rId4" imgW="366" imgH="367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C196FE-32DC-A2CA-4FD7-106CF89F3C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4871D1D-7BE4-A05F-F1F4-D917788B6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>
                <a:solidFill>
                  <a:schemeClr val="bg1"/>
                </a:solidFill>
              </a:rPr>
              <a:t>WHAT’S ON MENU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AA27F018-BB34-E183-A9EC-298C5BDFA5CE}"/>
                  </a:ext>
                </a:extLst>
              </p14:cNvPr>
              <p14:cNvContentPartPr/>
              <p14:nvPr/>
            </p14:nvContentPartPr>
            <p14:xfrm>
              <a:off x="8881200" y="15570"/>
              <a:ext cx="2235600" cy="32760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AA27F018-BB34-E183-A9EC-298C5BDFA5CE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827209" y="-92549"/>
                <a:ext cx="2343223" cy="54347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54257942-4275-1141-BEA8-9F733FA50C51}"/>
                  </a:ext>
                </a:extLst>
              </p14:cNvPr>
              <p14:cNvContentPartPr/>
              <p14:nvPr/>
            </p14:nvContentPartPr>
            <p14:xfrm>
              <a:off x="11132280" y="251100"/>
              <a:ext cx="360" cy="36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54257942-4275-1141-BEA8-9F733FA50C51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1078280" y="143100"/>
                <a:ext cx="10800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61493C6F-18CC-5295-4F9B-DFFC96E0ED01}"/>
                  </a:ext>
                </a:extLst>
              </p14:cNvPr>
              <p14:cNvContentPartPr/>
              <p14:nvPr/>
            </p14:nvContentPartPr>
            <p14:xfrm>
              <a:off x="9038160" y="198540"/>
              <a:ext cx="2049120" cy="6552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61493C6F-18CC-5295-4F9B-DFFC96E0ED01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984160" y="90540"/>
                <a:ext cx="2156760" cy="281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7F51F24A-116A-04E7-F70C-1E17563D7B4A}"/>
                  </a:ext>
                </a:extLst>
              </p14:cNvPr>
              <p14:cNvContentPartPr/>
              <p14:nvPr/>
            </p14:nvContentPartPr>
            <p14:xfrm>
              <a:off x="8915400" y="67860"/>
              <a:ext cx="2680560" cy="22968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7F51F24A-116A-04E7-F70C-1E17563D7B4A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8861400" y="-40140"/>
                <a:ext cx="2788200" cy="445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13" name="Ink 12">
                <a:extLst>
                  <a:ext uri="{FF2B5EF4-FFF2-40B4-BE49-F238E27FC236}">
                    <a16:creationId xmlns:a16="http://schemas.microsoft.com/office/drawing/2014/main" id="{EAE94D4B-EC0B-3EB9-D055-00603922F6F1}"/>
                  </a:ext>
                </a:extLst>
              </p14:cNvPr>
              <p14:cNvContentPartPr/>
              <p14:nvPr/>
            </p14:nvContentPartPr>
            <p14:xfrm>
              <a:off x="9203400" y="216540"/>
              <a:ext cx="158400" cy="360"/>
            </p14:xfrm>
          </p:contentPart>
        </mc:Choice>
        <mc:Fallback xmlns="">
          <p:pic>
            <p:nvPicPr>
              <p:cNvPr id="13" name="Ink 12">
                <a:extLst>
                  <a:ext uri="{FF2B5EF4-FFF2-40B4-BE49-F238E27FC236}">
                    <a16:creationId xmlns:a16="http://schemas.microsoft.com/office/drawing/2014/main" id="{EAE94D4B-EC0B-3EB9-D055-00603922F6F1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9194400" y="207540"/>
                <a:ext cx="17604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23" name="Ink 22">
                <a:extLst>
                  <a:ext uri="{FF2B5EF4-FFF2-40B4-BE49-F238E27FC236}">
                    <a16:creationId xmlns:a16="http://schemas.microsoft.com/office/drawing/2014/main" id="{F7A80430-4137-58EE-8F2C-B941AF16D624}"/>
                  </a:ext>
                </a:extLst>
              </p14:cNvPr>
              <p14:cNvContentPartPr/>
              <p14:nvPr/>
            </p14:nvContentPartPr>
            <p14:xfrm>
              <a:off x="8812440" y="171180"/>
              <a:ext cx="2966040" cy="311760"/>
            </p14:xfrm>
          </p:contentPart>
        </mc:Choice>
        <mc:Fallback xmlns="">
          <p:pic>
            <p:nvPicPr>
              <p:cNvPr id="23" name="Ink 22">
                <a:extLst>
                  <a:ext uri="{FF2B5EF4-FFF2-40B4-BE49-F238E27FC236}">
                    <a16:creationId xmlns:a16="http://schemas.microsoft.com/office/drawing/2014/main" id="{F7A80430-4137-58EE-8F2C-B941AF16D624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8749440" y="108180"/>
                <a:ext cx="3091680" cy="437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8">
            <p14:nvContentPartPr>
              <p14:cNvPr id="26" name="Ink 25">
                <a:extLst>
                  <a:ext uri="{FF2B5EF4-FFF2-40B4-BE49-F238E27FC236}">
                    <a16:creationId xmlns:a16="http://schemas.microsoft.com/office/drawing/2014/main" id="{D4B603B4-55A3-D7B2-832E-DB980F1D6E6A}"/>
                  </a:ext>
                </a:extLst>
              </p14:cNvPr>
              <p14:cNvContentPartPr/>
              <p14:nvPr/>
            </p14:nvContentPartPr>
            <p14:xfrm>
              <a:off x="9601200" y="193500"/>
              <a:ext cx="1128240" cy="35280"/>
            </p14:xfrm>
          </p:contentPart>
        </mc:Choice>
        <mc:Fallback xmlns="">
          <p:pic>
            <p:nvPicPr>
              <p:cNvPr id="26" name="Ink 25">
                <a:extLst>
                  <a:ext uri="{FF2B5EF4-FFF2-40B4-BE49-F238E27FC236}">
                    <a16:creationId xmlns:a16="http://schemas.microsoft.com/office/drawing/2014/main" id="{D4B603B4-55A3-D7B2-832E-DB980F1D6E6A}"/>
                  </a:ext>
                </a:extLst>
              </p:cNvPr>
              <p:cNvPicPr/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9538220" y="130500"/>
                <a:ext cx="1253840" cy="160920"/>
              </a:xfrm>
              <a:prstGeom prst="rect">
                <a:avLst/>
              </a:prstGeom>
            </p:spPr>
          </p:pic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0FE1888D-AA40-9AEF-A92B-4D19FE2EE66D}"/>
              </a:ext>
            </a:extLst>
          </p:cNvPr>
          <p:cNvSpPr txBox="1"/>
          <p:nvPr/>
        </p:nvSpPr>
        <p:spPr>
          <a:xfrm>
            <a:off x="5801656" y="2173484"/>
            <a:ext cx="5976824" cy="255454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GB" sz="2000" dirty="0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tarter: </a:t>
            </a:r>
          </a:p>
          <a:p>
            <a:r>
              <a:rPr lang="en-GB" sz="2000" dirty="0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From uber – cluster to 5 log-specifics clust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rgbClr val="1F2328"/>
              </a:solidFill>
              <a:highlight>
                <a:srgbClr val="FFFFFF"/>
              </a:highlight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r>
              <a:rPr lang="en-GB" sz="2000" dirty="0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Main Course: </a:t>
            </a:r>
          </a:p>
          <a:p>
            <a:r>
              <a:rPr lang="en-GB" sz="2000" dirty="0" err="1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IaC</a:t>
            </a:r>
            <a:r>
              <a:rPr lang="en-GB" sz="2000" dirty="0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approach &amp; overview of OpenSearch setting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rgbClr val="1F2328"/>
              </a:solidFill>
              <a:highlight>
                <a:srgbClr val="FFFFFF"/>
              </a:highlight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r>
              <a:rPr lang="en-GB" sz="2000" dirty="0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essert: </a:t>
            </a:r>
          </a:p>
          <a:p>
            <a:r>
              <a:rPr lang="en-GB" sz="2000" dirty="0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Key learnings, insights &amp; tip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99EAF6-FBAE-014D-7C42-652C3D0BF7D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943" y="2173484"/>
            <a:ext cx="4964488" cy="2949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7769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87EE20-8D3E-F758-C2D4-46AD0A23A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DISCLAIMER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8BD1930-D408-9C3A-E3C7-72B190FEB6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6691" y="3157781"/>
            <a:ext cx="2536692" cy="2254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C6D6337C-55B9-21EA-6F25-CE9BEB0AFD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036" y="2364379"/>
            <a:ext cx="1182188" cy="1182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7F5DA9D1-C449-4817-067D-0EEB522A3A4E}"/>
                  </a:ext>
                </a:extLst>
              </p14:cNvPr>
              <p14:cNvContentPartPr/>
              <p14:nvPr/>
            </p14:nvContentPartPr>
            <p14:xfrm>
              <a:off x="8846640" y="147690"/>
              <a:ext cx="2815560" cy="51552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7F5DA9D1-C449-4817-067D-0EEB522A3A4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784000" y="84690"/>
                <a:ext cx="2941200" cy="6411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5144885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F2C196FE-32DC-A2CA-4FD7-106CF89F3C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6" imgH="367" progId="TCLayout.ActiveDocument.1">
                  <p:embed/>
                </p:oleObj>
              </mc:Choice>
              <mc:Fallback>
                <p:oleObj name="think-cell Slide" r:id="rId4" imgW="366" imgH="367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C196FE-32DC-A2CA-4FD7-106CF89F3C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4871D1D-7BE4-A05F-F1F4-D917788B60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286" y="234951"/>
            <a:ext cx="11041380" cy="601980"/>
          </a:xfrm>
        </p:spPr>
        <p:txBody>
          <a:bodyPr/>
          <a:lstStyle/>
          <a:p>
            <a:r>
              <a:rPr lang="en-GB" sz="3200" dirty="0"/>
              <a:t>ABOUT M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915A38-4350-8C9C-0C86-A360E04FAB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85250" y="54979"/>
            <a:ext cx="6316264" cy="611722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F1BA128-352A-7101-C322-B7A7FBF6AB4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36478" y="836931"/>
            <a:ext cx="2892581" cy="4678710"/>
          </a:xfrm>
          <a:prstGeom prst="rect">
            <a:avLst/>
          </a:prstGeom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DE36BD0A-CEBD-24CB-5716-C5FB4EA654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5357895"/>
            <a:ext cx="5878286" cy="964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62502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F2C196FE-32DC-A2CA-4FD7-106CF89F3C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6" imgH="367" progId="TCLayout.ActiveDocument.1">
                  <p:embed/>
                </p:oleObj>
              </mc:Choice>
              <mc:Fallback>
                <p:oleObj name="think-cell Slide" r:id="rId4" imgW="366" imgH="367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C196FE-32DC-A2CA-4FD7-106CF89F3C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4871D1D-7BE4-A05F-F1F4-D917788B60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945" y="403860"/>
            <a:ext cx="11041380" cy="601980"/>
          </a:xfrm>
        </p:spPr>
        <p:txBody>
          <a:bodyPr/>
          <a:lstStyle/>
          <a:p>
            <a:r>
              <a:rPr lang="en-GB" sz="3200" dirty="0"/>
              <a:t>CHASE | </a:t>
            </a:r>
            <a:r>
              <a:rPr lang="en-GB" sz="3200" dirty="0">
                <a:solidFill>
                  <a:schemeClr val="tx2"/>
                </a:solidFill>
              </a:rPr>
              <a:t>AWARD-WINNING BANKING</a:t>
            </a:r>
          </a:p>
        </p:txBody>
      </p:sp>
      <p:pic>
        <p:nvPicPr>
          <p:cNvPr id="3" name="Picture 2" descr="No alternative text description for this image">
            <a:extLst>
              <a:ext uri="{FF2B5EF4-FFF2-40B4-BE49-F238E27FC236}">
                <a16:creationId xmlns:a16="http://schemas.microsoft.com/office/drawing/2014/main" id="{0A97D19E-653D-73EF-BC2A-C79B7DCB27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75"/>
          <a:stretch/>
        </p:blipFill>
        <p:spPr bwMode="auto">
          <a:xfrm>
            <a:off x="470772" y="1203739"/>
            <a:ext cx="2371855" cy="2377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descr="No alternative text description for this image">
            <a:extLst>
              <a:ext uri="{FF2B5EF4-FFF2-40B4-BE49-F238E27FC236}">
                <a16:creationId xmlns:a16="http://schemas.microsoft.com/office/drawing/2014/main" id="{C81BC99D-4CAF-C6AE-E26A-3B8FCBA381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562"/>
          <a:stretch/>
        </p:blipFill>
        <p:spPr bwMode="auto">
          <a:xfrm>
            <a:off x="2842627" y="3581400"/>
            <a:ext cx="2371856" cy="2377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B41245F-3C2F-F40E-FCA9-A7253E3AEC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92548" y="120832"/>
            <a:ext cx="3748162" cy="60742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98ACD9E-4C6B-1862-5B67-FACFC65F08C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772" y="3581400"/>
            <a:ext cx="2354832" cy="235483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DFF607B-BD63-9F20-E916-2BB081B2B6B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32268" y="1203738"/>
            <a:ext cx="2642494" cy="66338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69FAFC3-4B98-FD5D-D934-56AB04530C0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3845" y="1203738"/>
            <a:ext cx="2377661" cy="2377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5294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CD3865-FE6F-0FB4-A1C0-B6A3347D6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ERRAFORM 10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7662AD6-ED95-4716-892D-C7A223DD4AD3}"/>
              </a:ext>
            </a:extLst>
          </p:cNvPr>
          <p:cNvSpPr txBox="1"/>
          <p:nvPr/>
        </p:nvSpPr>
        <p:spPr>
          <a:xfrm>
            <a:off x="579120" y="1191714"/>
            <a:ext cx="8267007" cy="989886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marL="171450" indent="-1714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b="1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What?</a:t>
            </a:r>
            <a:r>
              <a:rPr lang="en-GB" b="1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 </a:t>
            </a:r>
            <a:b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🛠️ 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that lets you define(declare) what your infrastructure should look like, </a:t>
            </a:r>
            <a:b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instead of manually setting everything up (a.k.a. </a:t>
            </a:r>
            <a:r>
              <a:rPr lang="en-GB" b="0" i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IaC</a:t>
            </a:r>
            <a: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)</a:t>
            </a:r>
            <a:endParaRPr lang="en-US" b="0" i="0" dirty="0">
              <a:solidFill>
                <a:schemeClr val="tx2"/>
              </a:solidFill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A8D6240-B010-66B9-EACB-41A282CB7DD6}"/>
              </a:ext>
            </a:extLst>
          </p:cNvPr>
          <p:cNvSpPr txBox="1"/>
          <p:nvPr/>
        </p:nvSpPr>
        <p:spPr>
          <a:xfrm>
            <a:off x="579120" y="2243130"/>
            <a:ext cx="5687454" cy="685188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marL="171450" indent="-1714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b="1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Why?</a:t>
            </a:r>
            <a:r>
              <a:rPr lang="en-GB" b="1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 </a:t>
            </a:r>
            <a:b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To ensure consistency, repeatability</a:t>
            </a:r>
            <a:r>
              <a:rPr lang="en-GB" dirty="0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, c</a:t>
            </a:r>
            <a:r>
              <a:rPr lang="en-GB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ollabor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CC3B893-31AF-EC29-C468-34C49EBCAA6F}"/>
              </a:ext>
            </a:extLst>
          </p:cNvPr>
          <p:cNvSpPr txBox="1"/>
          <p:nvPr/>
        </p:nvSpPr>
        <p:spPr>
          <a:xfrm>
            <a:off x="579120" y="2929600"/>
            <a:ext cx="9054658" cy="989886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marL="171450" indent="-1714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b="1" i="1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How?</a:t>
            </a:r>
            <a:r>
              <a:rPr lang="en-GB" b="1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  </a:t>
            </a:r>
            <a:b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Wr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ite a configuration files that describes the infra (VMs, storage, and networking).</a:t>
            </a:r>
            <a:b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Terraform figures out how to make those changes. </a:t>
            </a:r>
            <a:endParaRPr lang="en-GB" i="0" dirty="0">
              <a:solidFill>
                <a:srgbClr val="1F2328"/>
              </a:solidFill>
              <a:effectLst/>
              <a:highlight>
                <a:srgbClr val="FFFFFF"/>
              </a:highlight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B69EA72-3D10-D03E-1789-60B37AD31204}"/>
              </a:ext>
            </a:extLst>
          </p:cNvPr>
          <p:cNvSpPr txBox="1"/>
          <p:nvPr/>
        </p:nvSpPr>
        <p:spPr>
          <a:xfrm>
            <a:off x="1011930" y="3888686"/>
            <a:ext cx="5864106" cy="2513317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spAutoFit/>
          </a:bodyPr>
          <a:lstStyle/>
          <a:p>
            <a:pPr marL="628650" lvl="1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“</a:t>
            </a:r>
            <a:r>
              <a:rPr lang="en-GB" b="1" dirty="0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providers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”  - </a:t>
            </a:r>
            <a: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interact with various APIs</a:t>
            </a:r>
            <a:b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    - ☁️ (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  <a:hlinkClick r:id="rId3"/>
              </a:rPr>
              <a:t>AWS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, etc)</a:t>
            </a:r>
          </a:p>
          <a:p>
            <a:pPr algn="l">
              <a:lnSpc>
                <a:spcPct val="110000"/>
              </a:lnSpc>
            </a:pP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              	- 🫙 (</a:t>
            </a:r>
            <a:r>
              <a:rPr lang="en-GB" dirty="0" err="1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Mysql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, </a:t>
            </a:r>
            <a:r>
              <a:rPr lang="en-GB" dirty="0" err="1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Postrges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)</a:t>
            </a:r>
            <a:b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              	- 🤓 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  <a:hlinkClick r:id="rId4"/>
              </a:rPr>
              <a:t>Spotify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/ 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  <a:hlinkClick r:id="rId5"/>
              </a:rPr>
              <a:t>Dominos</a:t>
            </a:r>
            <a:b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              	- </a:t>
            </a:r>
            <a:r>
              <a:rPr lang="en-GB" dirty="0" err="1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your_next_best_tool</a:t>
            </a:r>
            <a:b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	-  </a:t>
            </a:r>
            <a:r>
              <a:rPr lang="en-GB" b="1" dirty="0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  <a:hlinkClick r:id="rId6"/>
              </a:rPr>
              <a:t>Elasticsearch</a:t>
            </a:r>
            <a:r>
              <a:rPr lang="en-GB" b="1" dirty="0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  |  </a:t>
            </a:r>
            <a:r>
              <a:rPr lang="en-GB" b="1" dirty="0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  <a:hlinkClick r:id="rId7"/>
              </a:rPr>
              <a:t>OpenSearch</a:t>
            </a:r>
            <a:endParaRPr lang="en-GB" b="1" dirty="0"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</a:endParaRPr>
          </a:p>
          <a:p>
            <a:pPr algn="l">
              <a:lnSpc>
                <a:spcPct val="110000"/>
              </a:lnSpc>
            </a:pPr>
            <a:endParaRPr lang="en-GB" b="1" dirty="0">
              <a:latin typeface="Open Sans ExtraBold" panose="020B0606030504020204" pitchFamily="34" charset="0"/>
              <a:ea typeface="Open Sans ExtraBold" panose="020B0606030504020204" pitchFamily="34" charset="0"/>
              <a:cs typeface="Open Sans ExtraBold" panose="020B0606030504020204" pitchFamily="34" charset="0"/>
            </a:endParaRPr>
          </a:p>
          <a:p>
            <a:pPr marL="628650" lvl="1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“</a:t>
            </a:r>
            <a:r>
              <a:rPr lang="en-GB" b="1" dirty="0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modules</a:t>
            </a:r>
            <a:r>
              <a:rPr lang="en-GB" dirty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”  - </a:t>
            </a:r>
            <a:r>
              <a:rPr lang="en-GB" dirty="0">
                <a:solidFill>
                  <a:srgbClr val="1F2328"/>
                </a:solidFill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</a:t>
            </a:r>
            <a:r>
              <a:rPr lang="en-GB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reuse/avoid repetitive declarations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CD2710A0-64F7-D921-5A22-F43E62FEF025}"/>
                  </a:ext>
                </a:extLst>
              </p14:cNvPr>
              <p14:cNvContentPartPr/>
              <p14:nvPr/>
            </p14:nvContentPartPr>
            <p14:xfrm>
              <a:off x="8897400" y="262710"/>
              <a:ext cx="2664000" cy="3326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CD2710A0-64F7-D921-5A22-F43E62FEF025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8834400" y="199710"/>
                <a:ext cx="2789640" cy="458280"/>
              </a:xfrm>
              <a:prstGeom prst="rect">
                <a:avLst/>
              </a:prstGeom>
            </p:spPr>
          </p:pic>
        </mc:Fallback>
      </mc:AlternateContent>
      <p:pic>
        <p:nvPicPr>
          <p:cNvPr id="5" name="Picture 4">
            <a:extLst>
              <a:ext uri="{FF2B5EF4-FFF2-40B4-BE49-F238E27FC236}">
                <a16:creationId xmlns:a16="http://schemas.microsoft.com/office/drawing/2014/main" id="{818130FE-BE22-B8B5-F955-8F65E65A743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1966" y="320292"/>
            <a:ext cx="2382641" cy="2608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6334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CD3865-FE6F-0FB4-A1C0-B6A3347D6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ERRAFORM 101 | </a:t>
            </a:r>
            <a:r>
              <a:rPr lang="en-US" sz="3200" dirty="0">
                <a:solidFill>
                  <a:schemeClr val="tx2"/>
                </a:solidFill>
              </a:rPr>
              <a:t>AWS RESOURC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0F6B11-B662-B686-4DFC-69128B87680B}"/>
              </a:ext>
            </a:extLst>
          </p:cNvPr>
          <p:cNvSpPr txBox="1"/>
          <p:nvPr/>
        </p:nvSpPr>
        <p:spPr>
          <a:xfrm>
            <a:off x="5508031" y="4868896"/>
            <a:ext cx="3280919" cy="175432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GB" sz="1200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-</a:t>
            </a: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IAM policies / SAML</a:t>
            </a:r>
          </a:p>
          <a:p>
            <a:r>
              <a:rPr lang="en-GB" sz="1200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-</a:t>
            </a: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Number &amp; type of master / data nodes</a:t>
            </a:r>
          </a:p>
          <a:p>
            <a:r>
              <a:rPr lang="en-GB" sz="1200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-</a:t>
            </a: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EBS Options</a:t>
            </a:r>
          </a:p>
          <a:p>
            <a:r>
              <a:rPr lang="en-GB" sz="1200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-</a:t>
            </a: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Engine Version</a:t>
            </a:r>
            <a:b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- Warm/Cold storage</a:t>
            </a:r>
          </a:p>
          <a:p>
            <a:r>
              <a:rPr lang="en-GB" sz="1200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-</a:t>
            </a: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Advanced options </a:t>
            </a:r>
          </a:p>
          <a:p>
            <a:pPr marL="171450" indent="-171450">
              <a:buFontTx/>
              <a:buChar char="-"/>
            </a:pP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CloudWatch </a:t>
            </a:r>
            <a:r>
              <a:rPr lang="en-GB" sz="1200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OpenSearchService</a:t>
            </a:r>
            <a:endParaRPr lang="en-GB" sz="1200" b="0" dirty="0">
              <a:solidFill>
                <a:srgbClr val="1F2328"/>
              </a:solidFill>
              <a:effectLst/>
              <a:highlight>
                <a:srgbClr val="FFFFFF"/>
              </a:highlight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marL="171450" indent="-171450">
              <a:buFontTx/>
              <a:buChar char="-"/>
            </a:pP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Logs(audit/error/</a:t>
            </a:r>
            <a:r>
              <a:rPr lang="en-GB" sz="1200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search_slow</a:t>
            </a: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/</a:t>
            </a:r>
            <a:r>
              <a:rPr lang="en-GB" sz="1200" b="0" dirty="0" err="1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index_slow</a:t>
            </a: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)</a:t>
            </a:r>
          </a:p>
          <a:p>
            <a:r>
              <a:rPr lang="en-GB" sz="1200" b="0" dirty="0">
                <a:solidFill>
                  <a:srgbClr val="953800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-</a:t>
            </a:r>
            <a:r>
              <a:rPr lang="en-GB" sz="1200" b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...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DFDD3B6-ABC4-923A-79D9-DCB9F83CB3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43177" y="687983"/>
            <a:ext cx="4330087" cy="1297815"/>
          </a:xfrm>
          <a:prstGeom prst="rect">
            <a:avLst/>
          </a:prstGeom>
          <a:ln>
            <a:solidFill>
              <a:schemeClr val="accent1"/>
            </a:solidFill>
          </a:ln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3E7D45D3-8F8B-18CC-5621-3B59D3389580}"/>
                  </a:ext>
                </a:extLst>
              </p14:cNvPr>
              <p14:cNvContentPartPr/>
              <p14:nvPr/>
            </p14:nvContentPartPr>
            <p14:xfrm>
              <a:off x="8819280" y="88650"/>
              <a:ext cx="2814840" cy="29808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3E7D45D3-8F8B-18CC-5621-3B59D3389580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756640" y="26010"/>
                <a:ext cx="2940480" cy="423720"/>
              </a:xfrm>
              <a:prstGeom prst="rect">
                <a:avLst/>
              </a:prstGeom>
            </p:spPr>
          </p:pic>
        </mc:Fallback>
      </mc:AlternateContent>
      <p:pic>
        <p:nvPicPr>
          <p:cNvPr id="9" name="Picture 8">
            <a:extLst>
              <a:ext uri="{FF2B5EF4-FFF2-40B4-BE49-F238E27FC236}">
                <a16:creationId xmlns:a16="http://schemas.microsoft.com/office/drawing/2014/main" id="{DB5A025C-C46E-F93F-74FC-3A7402EF280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8735" y="4474719"/>
            <a:ext cx="4311100" cy="206863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888076F-235D-7992-5B69-B8254574D0E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9575" y="1293003"/>
            <a:ext cx="3885916" cy="333659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410EFCF-5555-36E7-5C29-49E71F5FC2F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79120" y="1336891"/>
            <a:ext cx="2243186" cy="190161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109B98BD-09CA-06AF-3BA6-A54331DBEF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2345661"/>
              </p:ext>
            </p:extLst>
          </p:nvPr>
        </p:nvGraphicFramePr>
        <p:xfrm>
          <a:off x="7148491" y="2271859"/>
          <a:ext cx="4824774" cy="2357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7395">
                  <a:extLst>
                    <a:ext uri="{9D8B030D-6E8A-4147-A177-3AD203B41FA5}">
                      <a16:colId xmlns:a16="http://schemas.microsoft.com/office/drawing/2014/main" val="1366647900"/>
                    </a:ext>
                  </a:extLst>
                </a:gridCol>
                <a:gridCol w="1409700">
                  <a:extLst>
                    <a:ext uri="{9D8B030D-6E8A-4147-A177-3AD203B41FA5}">
                      <a16:colId xmlns:a16="http://schemas.microsoft.com/office/drawing/2014/main" val="3565303346"/>
                    </a:ext>
                  </a:extLst>
                </a:gridCol>
                <a:gridCol w="1987679">
                  <a:extLst>
                    <a:ext uri="{9D8B030D-6E8A-4147-A177-3AD203B41FA5}">
                      <a16:colId xmlns:a16="http://schemas.microsoft.com/office/drawing/2014/main" val="4217856086"/>
                    </a:ext>
                  </a:extLst>
                </a:gridCol>
              </a:tblGrid>
              <a:tr h="386348">
                <a:tc gridSpan="3"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OpenSearch cluster*</a:t>
                      </a:r>
                    </a:p>
                  </a:txBody>
                  <a:tcPr>
                    <a:solidFill>
                      <a:srgbClr val="955D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905684"/>
                  </a:ext>
                </a:extLst>
              </a:tr>
              <a:tr h="394657">
                <a:tc>
                  <a:txBody>
                    <a:bodyPr/>
                    <a:lstStyle/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Cluster configu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Data </a:t>
                      </a:r>
                    </a:p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(</a:t>
                      </a:r>
                      <a:r>
                        <a:rPr lang="en-GB" sz="1050" b="0" i="0" kern="1200" dirty="0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_cat/</a:t>
                      </a:r>
                      <a:r>
                        <a:rPr lang="en-GB" sz="1050" b="0" i="0" kern="1200" dirty="0" err="1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allocation?v</a:t>
                      </a:r>
                      <a:r>
                        <a:rPr lang="en-GB" sz="1050" b="0" i="0" kern="1200" dirty="0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)</a:t>
                      </a:r>
                      <a:endParaRPr lang="en-US" sz="1050" dirty="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Environ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741227"/>
                  </a:ext>
                </a:extLst>
              </a:tr>
              <a:tr h="1524622">
                <a:tc>
                  <a:txBody>
                    <a:bodyPr/>
                    <a:lstStyle/>
                    <a:p>
                      <a:pPr marL="10160" marR="0" lvl="0" indent="-7514" algn="l" defTabSz="761970" rtl="0" eaLnBrk="1" fontAlgn="b" latinLnBrk="0" hangingPunct="1">
                        <a:lnSpc>
                          <a:spcPct val="100000"/>
                        </a:lnSpc>
                        <a:spcBef>
                          <a:spcPts val="221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3 master nodes (</a:t>
                      </a:r>
                      <a:r>
                        <a:rPr lang="en-GB" sz="1050" b="0" i="0" kern="1200" dirty="0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r6g.xlarge.search</a:t>
                      </a:r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)</a:t>
                      </a:r>
                    </a:p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24 data nodes (</a:t>
                      </a:r>
                      <a:r>
                        <a:rPr lang="en-GB" sz="1050" b="0" i="0" kern="1200" dirty="0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r6g.4xlarge.search</a:t>
                      </a:r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120TB </a:t>
                      </a:r>
                    </a:p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70B docs</a:t>
                      </a:r>
                    </a:p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14k shards</a:t>
                      </a:r>
                    </a:p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300 </a:t>
                      </a:r>
                      <a:r>
                        <a:rPr lang="en-US" sz="1050" dirty="0" err="1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indicies</a:t>
                      </a:r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 / 10 index templates</a:t>
                      </a:r>
                    </a:p>
                    <a:p>
                      <a:endParaRPr lang="en-US" sz="1050" dirty="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HOW many per day?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Managed cluster</a:t>
                      </a:r>
                    </a:p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Multi-AZ </a:t>
                      </a:r>
                    </a:p>
                    <a:p>
                      <a:r>
                        <a:rPr lang="en-US" sz="1050" dirty="0"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Engine version 2.11</a:t>
                      </a:r>
                    </a:p>
                    <a:p>
                      <a:endParaRPr lang="en-US" sz="1050" dirty="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  <a:p>
                      <a:r>
                        <a:rPr lang="en-GB" sz="1050" b="0" i="0" u="sng" kern="1200" dirty="0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Indexing Data Rate </a:t>
                      </a:r>
                      <a:r>
                        <a:rPr lang="en-GB" sz="1050" b="0" i="0" kern="1200" dirty="0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: 4k/12k (</a:t>
                      </a:r>
                      <a:r>
                        <a:rPr lang="en-GB" sz="1050" b="0" i="0" kern="1200" dirty="0" err="1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avg</a:t>
                      </a:r>
                      <a:r>
                        <a:rPr lang="en-GB" sz="1050" b="0" i="0" kern="1200" dirty="0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/peak) docs/second</a:t>
                      </a:r>
                    </a:p>
                    <a:p>
                      <a:r>
                        <a:rPr lang="en-GB" sz="1050" b="0" i="0" u="sng" kern="1200" dirty="0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Average Search Latency</a:t>
                      </a:r>
                      <a:r>
                        <a:rPr lang="en-GB" sz="1050" b="0" i="0" kern="1200" dirty="0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: 10ms/500ms (</a:t>
                      </a:r>
                      <a:r>
                        <a:rPr lang="en-GB" sz="1050" b="0" i="0" kern="1200" dirty="0" err="1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avg</a:t>
                      </a:r>
                      <a:r>
                        <a:rPr lang="en-GB" sz="1050" b="0" i="0" kern="1200" dirty="0">
                          <a:solidFill>
                            <a:schemeClr val="dk1"/>
                          </a:solidFill>
                          <a:effectLst/>
                          <a:latin typeface="Open Sans Light" panose="020B0606030504020204" pitchFamily="34" charset="0"/>
                          <a:ea typeface="Open Sans Light" panose="020B0606030504020204" pitchFamily="34" charset="0"/>
                          <a:cs typeface="Open Sans Light" panose="020B0606030504020204" pitchFamily="34" charset="0"/>
                        </a:rPr>
                        <a:t>/peak)</a:t>
                      </a:r>
                      <a:endParaRPr lang="en-US" sz="1050" dirty="0">
                        <a:latin typeface="Open Sans Light" panose="020B0606030504020204" pitchFamily="34" charset="0"/>
                        <a:ea typeface="Open Sans Light" panose="020B0606030504020204" pitchFamily="34" charset="0"/>
                        <a:cs typeface="Open Sans Light" panose="020B06060305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82252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49494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2A9955-4E1D-CB6D-3919-2D4924E38C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chemeClr val="tx2"/>
                </a:solidFill>
              </a:rPr>
              <a:t>ENGINE UPGRAD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110D526-DA97-138A-F103-A53FB20F0FE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2001"/>
          <a:stretch/>
        </p:blipFill>
        <p:spPr>
          <a:xfrm>
            <a:off x="4387592" y="1005840"/>
            <a:ext cx="7246888" cy="322996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F7933A5A-8C2C-8E37-D1E7-E395D2E70282}"/>
              </a:ext>
            </a:extLst>
          </p:cNvPr>
          <p:cNvGrpSpPr/>
          <p:nvPr/>
        </p:nvGrpSpPr>
        <p:grpSpPr>
          <a:xfrm>
            <a:off x="9052200" y="181890"/>
            <a:ext cx="2582280" cy="302760"/>
            <a:chOff x="9052200" y="181890"/>
            <a:chExt cx="2582280" cy="3027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172C58CC-B65E-D69A-B888-AF386583D9A2}"/>
                    </a:ext>
                  </a:extLst>
                </p14:cNvPr>
                <p14:cNvContentPartPr/>
                <p14:nvPr/>
              </p14:nvContentPartPr>
              <p14:xfrm>
                <a:off x="9052200" y="181890"/>
                <a:ext cx="2582280" cy="302760"/>
              </p14:xfrm>
            </p:contentPart>
          </mc:Choice>
          <mc:Fallback xmlns=""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172C58CC-B65E-D69A-B888-AF386583D9A2}"/>
                    </a:ext>
                  </a:extLst>
                </p:cNvPr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8989560" y="118890"/>
                  <a:ext cx="2707920" cy="428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F266BBE7-B293-2C1C-B0FB-F86E736372C7}"/>
                    </a:ext>
                  </a:extLst>
                </p14:cNvPr>
                <p14:cNvContentPartPr/>
                <p14:nvPr/>
              </p14:nvContentPartPr>
              <p14:xfrm>
                <a:off x="10505880" y="397530"/>
                <a:ext cx="387000" cy="1404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F266BBE7-B293-2C1C-B0FB-F86E736372C7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0442880" y="334530"/>
                  <a:ext cx="512640" cy="13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46374A47-439A-EA0B-CCE8-07EEF6D1F0BA}"/>
                    </a:ext>
                  </a:extLst>
                </p14:cNvPr>
                <p14:cNvContentPartPr/>
                <p14:nvPr/>
              </p14:nvContentPartPr>
              <p14:xfrm>
                <a:off x="10103040" y="228330"/>
                <a:ext cx="915840" cy="8028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46374A47-439A-EA0B-CCE8-07EEF6D1F0BA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10040040" y="165330"/>
                  <a:ext cx="1041480" cy="20592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F58C1A3A-D1A4-F955-4EB3-7A55621CC3D4}"/>
              </a:ext>
            </a:extLst>
          </p:cNvPr>
          <p:cNvSpPr txBox="1"/>
          <p:nvPr/>
        </p:nvSpPr>
        <p:spPr>
          <a:xfrm>
            <a:off x="327220" y="1135381"/>
            <a:ext cx="3990780" cy="160415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Migrations 😰 </a:t>
            </a:r>
          </a:p>
          <a:p>
            <a:pPr marL="742950" lvl="1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AWS is aware (2.13 improved 👏)</a:t>
            </a:r>
          </a:p>
          <a:p>
            <a:pPr marL="742950" lvl="1" indent="-285750">
              <a:lnSpc>
                <a:spcPct val="110000"/>
              </a:lnSpc>
              <a:buFont typeface="Wingdings" panose="05000000000000000000" pitchFamily="2" charset="2"/>
              <a:buChar char="ü"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  <a:hlinkClick r:id="rId9"/>
              </a:rPr>
              <a:t>Workaround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Migrations  are not ”backward” 🙀 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07924168-6B70-B486-F2A1-09034B9B372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7220" y="2945345"/>
            <a:ext cx="2428680" cy="1066803"/>
          </a:xfrm>
          <a:prstGeom prst="rect">
            <a:avLst/>
          </a:prstGeom>
          <a:ln>
            <a:solidFill>
              <a:schemeClr val="accent6"/>
            </a:solidFill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15E8F876-CDAF-34D1-D645-D514BB332DC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7220" y="5391073"/>
            <a:ext cx="3570190" cy="1220192"/>
          </a:xfrm>
          <a:prstGeom prst="rect">
            <a:avLst/>
          </a:prstGeom>
          <a:ln>
            <a:solidFill>
              <a:schemeClr val="accent6"/>
            </a:solidFill>
          </a:ln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58EDEDF-CB5A-347F-BD48-D95A8AFF1F7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27220" y="4118463"/>
            <a:ext cx="2949030" cy="1099638"/>
          </a:xfrm>
          <a:prstGeom prst="rect">
            <a:avLst/>
          </a:prstGeom>
          <a:ln>
            <a:solidFill>
              <a:schemeClr val="accent6"/>
            </a:solidFill>
          </a:ln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35D088F-8682-A71D-947F-51D5E1ADBA1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0205" y="2982788"/>
            <a:ext cx="2271349" cy="2271349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459108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CD3865-FE6F-0FB4-A1C0-B6A3347D6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ERRAFORM 101 | </a:t>
            </a:r>
            <a:r>
              <a:rPr lang="en-US" sz="3200" dirty="0">
                <a:solidFill>
                  <a:schemeClr val="tx2"/>
                </a:solidFill>
              </a:rPr>
              <a:t>OPENSEARCH RESOURCE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C370DA96-2BFC-1F69-74EB-84E4C6398A50}"/>
                  </a:ext>
                </a:extLst>
              </p14:cNvPr>
              <p14:cNvContentPartPr/>
              <p14:nvPr/>
            </p14:nvContentPartPr>
            <p14:xfrm>
              <a:off x="9075600" y="392850"/>
              <a:ext cx="726480" cy="3060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C370DA96-2BFC-1F69-74EB-84E4C6398A50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012600" y="329850"/>
                <a:ext cx="852120" cy="156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EBB20E21-C48D-1C54-E47B-983AFD16E85C}"/>
                  </a:ext>
                </a:extLst>
              </p14:cNvPr>
              <p14:cNvContentPartPr/>
              <p14:nvPr/>
            </p14:nvContentPartPr>
            <p14:xfrm>
              <a:off x="8904960" y="212850"/>
              <a:ext cx="2699640" cy="98640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EBB20E21-C48D-1C54-E47B-983AFD16E85C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841960" y="149850"/>
                <a:ext cx="2825280" cy="224280"/>
              </a:xfrm>
              <a:prstGeom prst="rect">
                <a:avLst/>
              </a:prstGeom>
            </p:spPr>
          </p:pic>
        </mc:Fallback>
      </mc:AlternateContent>
      <p:sp>
        <p:nvSpPr>
          <p:cNvPr id="18" name="TextBox 17">
            <a:extLst>
              <a:ext uri="{FF2B5EF4-FFF2-40B4-BE49-F238E27FC236}">
                <a16:creationId xmlns:a16="http://schemas.microsoft.com/office/drawing/2014/main" id="{4DE76F16-CF62-15FB-A5C2-C494B641F83E}"/>
              </a:ext>
            </a:extLst>
          </p:cNvPr>
          <p:cNvSpPr txBox="1"/>
          <p:nvPr/>
        </p:nvSpPr>
        <p:spPr>
          <a:xfrm>
            <a:off x="404353" y="1156049"/>
            <a:ext cx="3151792" cy="989823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2 provid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.</a:t>
            </a:r>
            <a:r>
              <a:rPr lang="en-US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t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ftp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 fi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dirty="0">
                <a:solidFill>
                  <a:srgbClr val="000000"/>
                </a:solidFill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rPr>
              <a:t>Downsid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606030504020204" pitchFamily="34" charset="0"/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6FC152F-D15A-D88C-8BEC-4D5CCD9C95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73789" y="1538661"/>
            <a:ext cx="3448060" cy="116883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38A649B-5105-560B-ED19-4DB5ED2F311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8166" y="2928839"/>
            <a:ext cx="4794397" cy="125773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2F81DE3-E361-291E-1CCF-124BA7B8DC7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8165" y="4407919"/>
            <a:ext cx="4142709" cy="227228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4B8B595-2FB8-9259-18F2-C5F4A25AFD8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410559" y="1016850"/>
            <a:ext cx="3659850" cy="308836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2CC9809-09B6-9EEC-E06E-8E1FB5C1948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236381" y="1005840"/>
            <a:ext cx="2852711" cy="556234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17BE8A1-D0C7-9C13-52A7-76165991785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914178" y="3248940"/>
            <a:ext cx="3999656" cy="117161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C670D85-DBD2-5396-F90D-AD905C3527F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914178" y="4863193"/>
            <a:ext cx="3999656" cy="1133373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528804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SHAPE" val="AgendaNumberingTy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onfidentialInterna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onfidentia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SHAPETYPE" val="ClientNam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TYPE" val="BrandLogo"/>
  <p:tag name="JPM_OBJECT_NAME" val="Brand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TYPE" val="BrandLogo"/>
  <p:tag name="JPM_OBJECT_NAME" val="Brand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TYPE" val="BrandLogo"/>
  <p:tag name="JPM_OBJECT_NAME" val="Brand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TYPE" val="BrandLogo"/>
  <p:tag name="JPM_OBJECT_NAME" val="Brand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SHAPE" val="AgendaTitle"/>
</p:tagLst>
</file>

<file path=ppt/theme/theme1.xml><?xml version="1.0" encoding="utf-8"?>
<a:theme xmlns:a="http://schemas.openxmlformats.org/drawingml/2006/main" name="PP+ UnifiedGIB - Widescreen">
  <a:themeElements>
    <a:clrScheme name="PitchPRO+">
      <a:dk1>
        <a:srgbClr val="000000"/>
      </a:dk1>
      <a:lt1>
        <a:srgbClr val="FFFFFF"/>
      </a:lt1>
      <a:dk2>
        <a:srgbClr val="6D6E6A"/>
      </a:dk2>
      <a:lt2>
        <a:srgbClr val="478FBF"/>
      </a:lt2>
      <a:accent1>
        <a:srgbClr val="0069A3"/>
      </a:accent1>
      <a:accent2>
        <a:srgbClr val="818A37"/>
      </a:accent2>
      <a:accent3>
        <a:srgbClr val="7DBAC4"/>
      </a:accent3>
      <a:accent4>
        <a:srgbClr val="5A5397"/>
      </a:accent4>
      <a:accent5>
        <a:srgbClr val="7E776F"/>
      </a:accent5>
      <a:accent6>
        <a:srgbClr val="AD670D"/>
      </a:accent6>
      <a:hlink>
        <a:srgbClr val="478FBF"/>
      </a:hlink>
      <a:folHlink>
        <a:srgbClr val="A6B640"/>
      </a:folHlink>
    </a:clrScheme>
    <a:fontScheme name="Pitchbook-US">
      <a:majorFont>
        <a:latin typeface="Arial"/>
        <a:ea typeface="LF_Kai"/>
        <a:cs typeface=""/>
      </a:majorFont>
      <a:minorFont>
        <a:latin typeface="Arial"/>
        <a:ea typeface="LF_Ka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2"/>
          </a:solidFill>
        </a:ln>
        <a:extLst>
          <a:ext uri="{909E8E84-426E-40DD-AFC4-6F175D3DCCD1}">
            <a14:hiddenFill xmlns:a14="http://schemas.microsoft.com/office/drawing/2010/main">
              <a:solidFill>
                <a:scrgbClr r="0" g="0" b="0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<a:prstTxWarp prst="textNoShape">
          <a:avLst/>
        </a:prstTxWarp>
        <a:noAutofit/>
      </a:bodyPr>
      <a:lstStyle>
        <a:defPPr>
          <a:lnSpc>
            <a:spcPct val="110000"/>
          </a:lnSpc>
          <a:defRPr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91440" tIns="45720" rIns="91440" bIns="45720" rtlCol="0" anchor="t">
        <a:spAutoFit/>
      </a:bodyPr>
      <a:lstStyle>
        <a:defPPr algn="l">
          <a:lnSpc>
            <a:spcPct val="110000"/>
          </a:lnSpc>
          <a:defRPr sz="1200" b="0" i="0" dirty="0" smtClean="0">
            <a:solidFill>
              <a:schemeClr val="tx2"/>
            </a:solidFill>
            <a:latin typeface="Arial"/>
          </a:defRPr>
        </a:defPPr>
      </a:lstStyle>
    </a:txDef>
  </a:objectDefaults>
  <a:extraClrSchemeLst>
    <a:extraClrScheme>
      <a:clrScheme name="PitchPRO+">
        <a:dk1>
          <a:srgbClr val="000000"/>
        </a:dk1>
        <a:lt1>
          <a:srgbClr val="FFFFFF"/>
        </a:lt1>
        <a:dk2>
          <a:srgbClr val="6D6E6A"/>
        </a:dk2>
        <a:lt2>
          <a:srgbClr val="478FBF"/>
        </a:lt2>
        <a:accent1>
          <a:srgbClr val="0069A3"/>
        </a:accent1>
        <a:accent2>
          <a:srgbClr val="818A37"/>
        </a:accent2>
        <a:accent3>
          <a:srgbClr val="7DBAC4"/>
        </a:accent3>
        <a:accent4>
          <a:srgbClr val="5A5397"/>
        </a:accent4>
        <a:accent5>
          <a:srgbClr val="7E776F"/>
        </a:accent5>
        <a:accent6>
          <a:srgbClr val="AD670D"/>
        </a:accent6>
        <a:hlink>
          <a:srgbClr val="478FBF"/>
        </a:hlink>
        <a:folHlink>
          <a:srgbClr val="A6B640"/>
        </a:folHlink>
      </a:clrScheme>
    </a:extraClrScheme>
  </a:extraClrSchemeLst>
  <a:custClrLst>
    <a:custClr name="Teal. RGB(0,124,136)">
      <a:srgbClr val="007C88"/>
    </a:custClr>
    <a:custClr name="Ocher. RGB(185,157,48)">
      <a:srgbClr val="B99D30"/>
    </a:custClr>
    <a:custClr name="Eggplant. RGB(41,39,94)">
      <a:srgbClr val="29275E"/>
    </a:custClr>
    <a:custClr name="Ice Blue. RGB(176,204,216)">
      <a:srgbClr val="B0CCD8"/>
    </a:custClr>
    <a:custClr name="Moss. RGB(75,94,54)">
      <a:srgbClr val="4B5E36"/>
    </a:custClr>
    <a:custClr name="Warm Grey. RGB(172, 166, 162)">
      <a:srgbClr val="ACA6A2"/>
    </a:custClr>
    <a:custClr name="Deep Blue. RGB(0,65,106)">
      <a:srgbClr val="00416A"/>
    </a:custClr>
    <a:custClr name="Sand. RGB(222,203,117)">
      <a:srgbClr val="DECB75"/>
    </a:custClr>
    <a:custClr name="Cranberry. RGB(96,0,59)">
      <a:srgbClr val="60003B"/>
    </a:custClr>
    <a:custClr name="Lilac. RGB(143,146,200)">
      <a:srgbClr val="8F92C8"/>
    </a:custClr>
    <a:custClr name="Light Warm Grey. RGB(217,213,205)">
      <a:srgbClr val="D9D5CD"/>
    </a:custClr>
    <a:custClr name="Light Mauve. RGB(204,183,207)">
      <a:srgbClr val="CCB7CF"/>
    </a:custClr>
    <a:custClr name="Light Cool Grey. RGB(175,177,179)">
      <a:srgbClr val="AFB1B3"/>
    </a:custClr>
    <a:custClr name="Dark Ash. RGB(85,87,89)">
      <a:srgbClr val="555759"/>
    </a:custClr>
    <a:custClr name="Dark Ocher. RGB(163,129,35)">
      <a:srgbClr val="A38123"/>
    </a:custClr>
    <a:custClr name="Mauve. RGB(163, 136, 191)">
      <a:srgbClr val="A388BF"/>
    </a:custClr>
    <a:custClr name="Dark Orange. RGB(139,70,13)">
      <a:srgbClr val="8B460D"/>
    </a:custClr>
    <a:custClr name="Orange. RGB(237,134,0)">
      <a:srgbClr val="ED8600"/>
    </a:custClr>
    <a:custClr name="Lime. RGB(166,182,64)">
      <a:srgbClr val="A6B640"/>
    </a:custClr>
    <a:custClr name="Map Grey. RGB(221,220,219)">
      <a:srgbClr val="DDDCDB"/>
    </a:custClr>
    <a:custClr name="Red. RGB(227,39,38)">
      <a:srgbClr val="E32726"/>
    </a:custClr>
    <a:custClr name="Yellow. RGB(255,207,1)">
      <a:srgbClr val="FFCF01"/>
    </a:custClr>
    <a:custClr name="Green. RGB(0,171,78)">
      <a:srgbClr val="00AB4E"/>
    </a:custClr>
    <a:custClr name="Asia Red. RGB(186,12,47)">
      <a:srgbClr val="BA0C2F"/>
    </a:custClr>
    <a:custClr name="Neutral Grey. RGB(233,231,229)">
      <a:srgbClr val="E9E7E5"/>
    </a:custClr>
    <a:custClr name="40% of Ice Blue. RGB(208, 224, 232)">
      <a:srgbClr val="D0E0E8"/>
    </a:custClr>
    <a:custClr name="40% Sand. RGB(235, 224, 172)">
      <a:srgbClr val="EBE0AC"/>
    </a:custClr>
    <a:custClr name="40% Lilac. RGB(188, 190, 222)">
      <a:srgbClr val="BCBEDE"/>
    </a:custClr>
    <a:custClr name="H- Glacier Blue. RGB(221,234,237)">
      <a:srgbClr val="DDEAED"/>
    </a:custClr>
  </a:custClrLst>
  <a:extLst>
    <a:ext uri="{05A4C25C-085E-4340-85A3-A5531E510DB2}">
      <thm15:themeFamily xmlns:thm15="http://schemas.microsoft.com/office/thememl/2012/main" name="cb4997ae-3b18-411f-bcf7-f1ad5b3259da.potx" id="{205D6587-0B03-4059-BA7D-8505E7700609}" vid="{FD09AA67-3802-45A4-B006-1DE72A73D904}"/>
    </a:ext>
  </a:extLst>
</a:theme>
</file>

<file path=ppt/theme/theme2.xml><?xml version="1.0" encoding="utf-8"?>
<a:theme xmlns:a="http://schemas.openxmlformats.org/drawingml/2006/main" name="White">
  <a:themeElements>
    <a:clrScheme name="White">
      <a:dk1>
        <a:srgbClr val="122A48"/>
      </a:dk1>
      <a:lt1>
        <a:srgbClr val="FFFFFF"/>
      </a:lt1>
      <a:dk2>
        <a:srgbClr val="A7A7A7"/>
      </a:dk2>
      <a:lt2>
        <a:srgbClr val="535353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1CB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7200" b="0" i="0" u="none" strike="noStrike" cap="none" spc="-215" normalizeH="0" baseline="0">
            <a:ln>
              <a:noFill/>
            </a:ln>
            <a:solidFill>
              <a:srgbClr val="FFFFFF"/>
            </a:solidFill>
            <a:effectLst/>
            <a:uFillTx/>
            <a:latin typeface="Open Sans Light"/>
            <a:ea typeface="Open Sans Light"/>
            <a:cs typeface="Open Sans Light"/>
            <a:sym typeface="Open Sans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7200" b="0" i="0" u="none" strike="noStrike" cap="none" spc="-215" normalizeH="0" baseline="0">
            <a:ln>
              <a:noFill/>
            </a:ln>
            <a:solidFill>
              <a:srgbClr val="FFFFFF"/>
            </a:solidFill>
            <a:effectLst/>
            <a:uFillTx/>
            <a:latin typeface="Open Sans Light"/>
            <a:ea typeface="Open Sans Light"/>
            <a:cs typeface="Open Sans Light"/>
            <a:sym typeface="Open Sans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592</TotalTime>
  <Words>1760</Words>
  <Application>Microsoft Macintosh PowerPoint</Application>
  <PresentationFormat>Widescreen</PresentationFormat>
  <Paragraphs>168</Paragraphs>
  <Slides>19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9" baseType="lpstr">
      <vt:lpstr>-apple-system</vt:lpstr>
      <vt:lpstr>Arial</vt:lpstr>
      <vt:lpstr>Calibri</vt:lpstr>
      <vt:lpstr>Courier New</vt:lpstr>
      <vt:lpstr>CourierStd</vt:lpstr>
      <vt:lpstr>DM Sans Medium</vt:lpstr>
      <vt:lpstr>Helvetica</vt:lpstr>
      <vt:lpstr>Helvetica Light</vt:lpstr>
      <vt:lpstr>Menlo</vt:lpstr>
      <vt:lpstr>Open Sans Bold</vt:lpstr>
      <vt:lpstr>Open Sans Extrabold</vt:lpstr>
      <vt:lpstr>Open Sans Extrabold</vt:lpstr>
      <vt:lpstr>Open Sans Light</vt:lpstr>
      <vt:lpstr>Open Sans Regular</vt:lpstr>
      <vt:lpstr>Times New Roman</vt:lpstr>
      <vt:lpstr>ui-monospace</vt:lpstr>
      <vt:lpstr>Wingdings</vt:lpstr>
      <vt:lpstr>PP+ UnifiedGIB - Widescreen</vt:lpstr>
      <vt:lpstr>White</vt:lpstr>
      <vt:lpstr>think-cell Slide</vt:lpstr>
      <vt:lpstr>PowerPoint Presentation</vt:lpstr>
      <vt:lpstr>WHAT’S ON MENU</vt:lpstr>
      <vt:lpstr>DISCLAIMER</vt:lpstr>
      <vt:lpstr>ABOUT ME</vt:lpstr>
      <vt:lpstr>CHASE | AWARD-WINNING BANKING</vt:lpstr>
      <vt:lpstr>TERRAFORM 101</vt:lpstr>
      <vt:lpstr>TERRAFORM 101 | AWS RESOURCE</vt:lpstr>
      <vt:lpstr>ENGINE UPGRADE</vt:lpstr>
      <vt:lpstr>TERRAFORM 101 | OPENSEARCH RESOURCE</vt:lpstr>
      <vt:lpstr>OPENSEARCH 101</vt:lpstr>
      <vt:lpstr>ROLES / ROLE-MAPPINGS(1/2)</vt:lpstr>
      <vt:lpstr>ROLES / ROLE-MAPPINGS(2/2)</vt:lpstr>
      <vt:lpstr>INDEX TEMPLATES</vt:lpstr>
      <vt:lpstr>INDEX TEMPLATES | MAPPING</vt:lpstr>
      <vt:lpstr>INDEX PATTERNS</vt:lpstr>
      <vt:lpstr>ISM / ILM POLICIES</vt:lpstr>
      <vt:lpstr>INGEST PIPELINES</vt:lpstr>
      <vt:lpstr>CHECKLIST | BEST PRACTICE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ion &amp; Strategy</dc:title>
  <dc:creator>Orzel, Dorota</dc:creator>
  <cp:lastModifiedBy>Tolbakov, Evgeny</cp:lastModifiedBy>
  <cp:revision>98</cp:revision>
  <cp:lastPrinted>2024-05-31T16:41:34Z</cp:lastPrinted>
  <dcterms:created xsi:type="dcterms:W3CDTF">2023-02-13T14:30:01Z</dcterms:created>
  <dcterms:modified xsi:type="dcterms:W3CDTF">2024-06-01T19:41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9fea72e-161c-48c8-8e82-3fc1e9b3162c_Enabled">
    <vt:lpwstr>true</vt:lpwstr>
  </property>
  <property fmtid="{D5CDD505-2E9C-101B-9397-08002B2CF9AE}" pid="3" name="MSIP_Label_e9fea72e-161c-48c8-8e82-3fc1e9b3162c_SetDate">
    <vt:lpwstr>2024-05-29T19:58:55Z</vt:lpwstr>
  </property>
  <property fmtid="{D5CDD505-2E9C-101B-9397-08002B2CF9AE}" pid="4" name="MSIP_Label_e9fea72e-161c-48c8-8e82-3fc1e9b3162c_Method">
    <vt:lpwstr>Standard</vt:lpwstr>
  </property>
  <property fmtid="{D5CDD505-2E9C-101B-9397-08002B2CF9AE}" pid="5" name="MSIP_Label_e9fea72e-161c-48c8-8e82-3fc1e9b3162c_Name">
    <vt:lpwstr>Normal sensitivity label</vt:lpwstr>
  </property>
  <property fmtid="{D5CDD505-2E9C-101B-9397-08002B2CF9AE}" pid="6" name="MSIP_Label_e9fea72e-161c-48c8-8e82-3fc1e9b3162c_SiteId">
    <vt:lpwstr>ff9c7474-421d-4957-8d47-c4b64dec87b5</vt:lpwstr>
  </property>
  <property fmtid="{D5CDD505-2E9C-101B-9397-08002B2CF9AE}" pid="7" name="MSIP_Label_e9fea72e-161c-48c8-8e82-3fc1e9b3162c_ActionId">
    <vt:lpwstr>55d8b177-6e1b-4e9f-b650-515359e103ce</vt:lpwstr>
  </property>
  <property fmtid="{D5CDD505-2E9C-101B-9397-08002B2CF9AE}" pid="8" name="MSIP_Label_e9fea72e-161c-48c8-8e82-3fc1e9b3162c_ContentBits">
    <vt:lpwstr>0</vt:lpwstr>
  </property>
</Properties>
</file>